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2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4.xml" ContentType="application/vnd.openxmlformats-officedocument.theme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5.xml" ContentType="application/vnd.openxmlformats-officedocument.theme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6.xml" ContentType="application/vnd.openxmlformats-officedocument.theme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474" r:id="rId1"/>
    <p:sldMasterId id="2147484589" r:id="rId2"/>
    <p:sldMasterId id="2147484632" r:id="rId3"/>
    <p:sldMasterId id="2147484743" r:id="rId4"/>
    <p:sldMasterId id="2147484781" r:id="rId5"/>
    <p:sldMasterId id="2147484785" r:id="rId6"/>
    <p:sldMasterId id="2147484823" r:id="rId7"/>
  </p:sldMasterIdLst>
  <p:notesMasterIdLst>
    <p:notesMasterId r:id="rId14"/>
  </p:notesMasterIdLst>
  <p:sldIdLst>
    <p:sldId id="2147471814" r:id="rId8"/>
    <p:sldId id="2147471762" r:id="rId9"/>
    <p:sldId id="2147471810" r:id="rId10"/>
    <p:sldId id="2147471764" r:id="rId11"/>
    <p:sldId id="2147471741" r:id="rId12"/>
    <p:sldId id="2147471742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CAA6B5B-245E-4B05-5D6E-7D26FBF49634}" name="Chris Zaloumis" initials="CZ" userId="5b9cd0f0194bd7fc" providerId="Windows Live"/>
  <p188:author id="{77539ED7-7704-9EAE-2604-3FBA71666E4B}" name="Harry L Alverson" initials="HLA" userId="S::alverson@us.ibm.com::f702f501-d8d6-43a1-994e-2767feaacaec" providerId="AD"/>
  <p188:author id="{A249FBFA-8982-5CF3-78A8-67F217DCBF9A}" name="Christina Shim" initials="CS" userId="S::christina.shim@ibm.com::3508272f-de2f-41c1-8c01-eff4c526f6c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triona Ewing" initials="CE" lastIdx="6" clrIdx="0">
    <p:extLst>
      <p:ext uri="{19B8F6BF-5375-455C-9EA6-DF929625EA0E}">
        <p15:presenceInfo xmlns:p15="http://schemas.microsoft.com/office/powerpoint/2012/main" userId="S::cewing@us.ibm.com::659193d9-74e1-4b0b-aac5-cbcb7e1ffca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193"/>
    <a:srgbClr val="FFFFFF"/>
    <a:srgbClr val="00FDFF"/>
    <a:srgbClr val="000000"/>
    <a:srgbClr val="F9FD5B"/>
    <a:srgbClr val="FCFD98"/>
    <a:srgbClr val="F2F4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7266" autoAdjust="0"/>
    <p:restoredTop sz="64437"/>
  </p:normalViewPr>
  <p:slideViewPr>
    <p:cSldViewPr snapToGrid="0" snapToObjects="1">
      <p:cViewPr varScale="1">
        <p:scale>
          <a:sx n="73" d="100"/>
          <a:sy n="73" d="100"/>
        </p:scale>
        <p:origin x="1326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0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commentAuthors" Target="commentAuthors.xml"/><Relationship Id="rId10" Type="http://schemas.openxmlformats.org/officeDocument/2006/relationships/slide" Target="slides/slide3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91F02F-3E9A-3249-AC36-09F086149C8D}" type="datetimeFigureOut">
              <a:rPr lang="en-US" smtClean="0"/>
              <a:t>11/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2A5243-A039-5740-A8CB-8E8DC772F0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231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>
                <a:latin typeface="IBM Plex Sans Light"/>
              </a:rPr>
              <a:t>IBM is designing a path forwar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2A5243-A039-5740-A8CB-8E8DC772F02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9741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technology roadmap is fit for every business – to advise, inform, and connect the board-room to every layer of operations. 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t is focused-on turning sustainability ambition into action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 lIns="93177" tIns="46589" rIns="93177" bIns="46589"/>
          <a:lstStyle/>
          <a:p>
            <a:pPr marL="0" marR="0" lvl="0" indent="0" algn="l" defTabSz="2438338" rtl="0" eaLnBrk="1" fontAlgn="auto" latinLnBrk="0" hangingPunct="0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DF380-7C03-0D43-A0E5-3D55D95865BF}" type="slidenum">
              <a:rPr kumimoji="0" 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sym typeface="IBM Plex Sans Light"/>
              </a:rPr>
              <a:pPr marL="0" marR="0" lvl="0" indent="0" algn="l" defTabSz="2438338" rtl="0" eaLnBrk="1" fontAlgn="auto" latinLnBrk="0" hangingPunct="0">
                <a:lnSpc>
                  <a:spcPts val="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sym typeface="IBM Plex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22963119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entral to success is an aligned strategy that defines outcomes and sets clear goals.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se goals can be as focused as determining what your emissions are today or as involved as committing to a net zero target.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ur 2022 IBV CEO study shows that a digital reinvention strategy drives hardened benefits in both sustainability objectives 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overall financial performance. 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t can also serve to help attract and retain talent – especially the next generation who wants to be part of a purpose-driven enterprise.  Who want to be connected to something bigger than themselves - to make an impact in the world we share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 lIns="93177" tIns="46589" rIns="93177" bIns="46589"/>
          <a:lstStyle/>
          <a:p>
            <a:pPr marL="0" marR="0" lvl="0" indent="0" algn="l" defTabSz="2438338" rtl="0" eaLnBrk="1" fontAlgn="auto" latinLnBrk="0" hangingPunct="0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DF380-7C03-0D43-A0E5-3D55D95865BF}" type="slidenum">
              <a:rPr kumimoji="0" 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sym typeface="IBM Plex Sans Light"/>
              </a:rPr>
              <a:pPr marL="0" marR="0" lvl="0" indent="0" algn="l" defTabSz="2438338" rtl="0" eaLnBrk="1" fontAlgn="auto" latinLnBrk="0" hangingPunct="0">
                <a:lnSpc>
                  <a:spcPts val="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sym typeface="IBM Plex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29787552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derpinning every goal is the need to establish a clear baseline, with ESG data, reporting and climate risk management. 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requires a business to create a system of record with which to operationalize sustainability goals and environmental intelligence. 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focus here being the collection, collation, visualization and analysis of all relevant data, enabling the business to deliver transparent, verifiable, financial-grade information and consistently report on its true progress, every quarter, 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ear after year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 lIns="93177" tIns="46589" rIns="93177" bIns="46589"/>
          <a:lstStyle/>
          <a:p>
            <a:pPr marL="0" marR="0" lvl="0" indent="0" algn="l" defTabSz="2438338" rtl="0" eaLnBrk="1" fontAlgn="auto" latinLnBrk="0" hangingPunct="0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DF380-7C03-0D43-A0E5-3D55D95865BF}" type="slidenum">
              <a:rPr kumimoji="0" 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sym typeface="IBM Plex Sans Light"/>
              </a:rPr>
              <a:pPr marL="0" marR="0" lvl="0" indent="0" algn="l" defTabSz="2438338" rtl="0" eaLnBrk="1" fontAlgn="auto" latinLnBrk="0" hangingPunct="0">
                <a:lnSpc>
                  <a:spcPts val="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sym typeface="IBM Plex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8425854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ll benefit can then be achieved by connecting this system of record for ESG data management with the underlying systems that run operations across all departments and business units. 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se linkages, when properly tuned, generate continuous feedback loops, that enable actions – based on insight – to drive transformation through intelligent facilities and assets, resilient IT Infrastructure, and circular supply chain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 lIns="93177" tIns="46589" rIns="93177" bIns="46589"/>
          <a:lstStyle/>
          <a:p>
            <a:pPr marL="0" marR="0" lvl="0" indent="0" algn="l" defTabSz="2438338" rtl="0" eaLnBrk="1" fontAlgn="auto" latinLnBrk="0" hangingPunct="0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DF380-7C03-0D43-A0E5-3D55D95865BF}" type="slidenum">
              <a:rPr kumimoji="0" 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sym typeface="IBM Plex Sans Light"/>
              </a:rPr>
              <a:pPr marL="0" marR="0" lvl="0" indent="0" algn="l" defTabSz="2438338" rtl="0" eaLnBrk="1" fontAlgn="auto" latinLnBrk="0" hangingPunct="0">
                <a:lnSpc>
                  <a:spcPts val="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sym typeface="IBM Plex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663023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BM is here to help our clients move from ambition to action.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are developing a comprehensive and differentiated portfolio of sustainability software </a:t>
            </a:r>
            <a:r>
              <a:rPr lang="en-US" kern="1200">
                <a:effectLst/>
              </a:rPr>
              <a:t>in concert with </a:t>
            </a:r>
            <a:r>
              <a:rPr lang="en-US"/>
              <a:t>IBM’s consulting services and </a:t>
            </a:r>
            <a:r>
              <a:rPr lang="en-US" kern="1200">
                <a:effectLst/>
              </a:rPr>
              <a:t>ecosystem of </a:t>
            </a:r>
            <a:r>
              <a:rPr lang="en-US"/>
              <a:t>partners.</a:t>
            </a:r>
            <a:endParaRPr lang="en-US">
              <a:cs typeface="Calibri" panose="020F0502020204030204"/>
            </a:endParaRPr>
          </a:p>
          <a:p>
            <a:endParaRPr lang="en-US" dirty="0"/>
          </a:p>
          <a:p>
            <a:r>
              <a:rPr lang="en-US"/>
              <a:t>Our goal is not only to</a:t>
            </a:r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/>
              <a:t>harness the integration and automation of key data and process flows deliver</a:t>
            </a:r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n the prerequisite core capabilities </a:t>
            </a:r>
            <a:r>
              <a:rPr lang="en-US"/>
              <a:t>that support </a:t>
            </a:r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r journey today,</a:t>
            </a:r>
            <a:r>
              <a:rPr lang="en-US"/>
              <a:t> </a:t>
            </a: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t </a:t>
            </a:r>
            <a:r>
              <a:rPr lang="en-US"/>
              <a:t>to</a:t>
            </a:r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/>
              <a:t>focus </a:t>
            </a:r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 the ongoing integration and automation of key data and process flows,</a:t>
            </a:r>
            <a:r>
              <a:rPr lang="en-US"/>
              <a:t> </a:t>
            </a:r>
            <a:endParaRPr lang="en-US" sz="1200" kern="1200">
              <a:solidFill>
                <a:schemeClr val="tx1"/>
              </a:solidFill>
              <a:effectLst/>
              <a:latin typeface="+mn-lt"/>
              <a:cs typeface="Calibri"/>
            </a:endParaRPr>
          </a:p>
          <a:p>
            <a:r>
              <a:rPr lang="en-US" kern="1200">
                <a:effectLst/>
              </a:rPr>
              <a:t>so that </a:t>
            </a:r>
            <a:r>
              <a:rPr lang="en-US"/>
              <a:t>our customers </a:t>
            </a:r>
            <a:r>
              <a:rPr lang="en-US" kern="1200">
                <a:effectLst/>
              </a:rPr>
              <a:t>can link </a:t>
            </a:r>
            <a:r>
              <a:rPr lang="en-US"/>
              <a:t>their </a:t>
            </a:r>
            <a:r>
              <a:rPr lang="en-US" kern="1200">
                <a:effectLst/>
              </a:rPr>
              <a:t>sustainability</a:t>
            </a:r>
            <a:r>
              <a:rPr lang="en-US"/>
              <a:t> </a:t>
            </a:r>
            <a:r>
              <a:rPr lang="en-US" kern="1200">
                <a:effectLst/>
              </a:rPr>
              <a:t>goals to daily operations in a verifiable</a:t>
            </a:r>
            <a:r>
              <a:rPr lang="en-US"/>
              <a:t> </a:t>
            </a:r>
            <a:r>
              <a:rPr lang="en-US" kern="1200">
                <a:effectLst/>
              </a:rPr>
              <a:t>and auditable way</a:t>
            </a:r>
            <a:r>
              <a:rPr lang="en-US"/>
              <a:t> </a:t>
            </a:r>
          </a:p>
          <a:p>
            <a:endParaRPr lang="en-US" kern="1200" dirty="0">
              <a:effectLst/>
              <a:cs typeface="Calibri" panose="020F0502020204030204"/>
            </a:endParaRP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fontAlgn="base"/>
            <a:endParaRPr lang="en-US" dirty="0">
              <a:cs typeface="Calibri" panose="020F050202020403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 lIns="93177" tIns="46589" rIns="93177" bIns="46589"/>
          <a:lstStyle/>
          <a:p>
            <a:pPr marL="0" marR="0" lvl="0" indent="0" algn="l" defTabSz="2438338" rtl="0" eaLnBrk="1" fontAlgn="auto" latinLnBrk="0" hangingPunct="0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0DF380-7C03-0D43-A0E5-3D55D95865BF}" type="slidenum">
              <a:rPr kumimoji="0" 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sym typeface="IBM Plex Sans Light"/>
              </a:rPr>
              <a:pPr marL="0" marR="0" lvl="0" indent="0" algn="l" defTabSz="2438338" rtl="0" eaLnBrk="1" fontAlgn="auto" latinLnBrk="0" hangingPunct="0">
                <a:lnSpc>
                  <a:spcPts val="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sym typeface="IBM Plex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1496979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6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139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530870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AI Applications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595824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AI Applications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839041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AI Applications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92534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1"/>
          </a:xfrm>
          <a:solidFill>
            <a:srgbClr val="0530AD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6096000" cy="3431116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BM AI Applications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01474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BM AI Applications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095132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1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AI Applications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040279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3429000"/>
            <a:ext cx="3048004" cy="3429000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333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3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333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AI Applications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" hidden="1">
            <a:extLst>
              <a:ext uri="{FF2B5EF4-FFF2-40B4-BE49-F238E27FC236}">
                <a16:creationId xmlns:a16="http://schemas.microsoft.com/office/drawing/2014/main" id="{0C4F1C52-4E00-9B42-8B21-690C46B2CCF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04889" y="268818"/>
            <a:ext cx="5524500" cy="572558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282310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chemeClr val="accent2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6EA6FF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BM AI Applications / © 2022 IBM Corporation</a:t>
            </a:r>
          </a:p>
        </p:txBody>
      </p:sp>
      <p:sp>
        <p:nvSpPr>
          <p:cNvPr id="4" name="Slide Number Placeholde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212214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AI Applications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999244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AI Applications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1049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546743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AI Applications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975077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AI Applications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98528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4"/>
            <a:ext cx="2450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4"/>
            <a:ext cx="8546501" cy="5726176"/>
          </a:xfrm>
        </p:spPr>
        <p:txBody>
          <a:bodyPr lIns="0" tIns="0" rIns="91440" bIns="91440"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AI Applications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81735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AI Applications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242661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532262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10784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8"/>
            <a:ext cx="5498592" cy="1746503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66D531-042B-494C-8702-5C43B76E65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8211" y="4274263"/>
            <a:ext cx="8540991" cy="1746501"/>
          </a:xfrm>
        </p:spPr>
        <p:txBody>
          <a:bodyPr anchor="b"/>
          <a:lstStyle>
            <a:lvl1pPr>
              <a:spcBef>
                <a:spcPts val="40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AI Applications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470147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DF33F66-F94F-4875-B865-64927C0A9665}"/>
              </a:ext>
            </a:extLst>
          </p:cNvPr>
          <p:cNvSpPr/>
          <p:nvPr userDrawn="1"/>
        </p:nvSpPr>
        <p:spPr>
          <a:xfrm>
            <a:off x="0" y="1"/>
            <a:ext cx="12192000" cy="6667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351">
              <a:latin typeface="Segoe UI" panose="020B0502040204020203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11512550" y="6392635"/>
            <a:ext cx="488951" cy="365125"/>
          </a:xfrm>
          <a:prstGeom prst="rect">
            <a:avLst/>
          </a:prstGeom>
        </p:spPr>
        <p:txBody>
          <a:bodyPr/>
          <a:lstStyle/>
          <a:p>
            <a:fld id="{8771E74C-217A-477C-B6A7-4CD4C00C0E84}" type="slidenum">
              <a:rPr lang="en-AU" smtClean="0"/>
              <a:pPr/>
              <a:t>‹#›</a:t>
            </a:fld>
            <a:endParaRPr lang="en-AU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A039923-F4B4-44C0-8888-8F9DD9D97BED}"/>
              </a:ext>
            </a:extLst>
          </p:cNvPr>
          <p:cNvCxnSpPr>
            <a:cxnSpLocks/>
          </p:cNvCxnSpPr>
          <p:nvPr userDrawn="1"/>
        </p:nvCxnSpPr>
        <p:spPr>
          <a:xfrm flipV="1">
            <a:off x="11346247" y="90780"/>
            <a:ext cx="0" cy="376833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0105BEA6-AE6D-4239-84B1-4A9B5FD30E7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14003" y="79450"/>
            <a:ext cx="757543" cy="400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23101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51" y="6256739"/>
            <a:ext cx="695452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67823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440175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807" indent="0">
              <a:buNone/>
              <a:defRPr/>
            </a:lvl3pPr>
            <a:lvl4pPr marL="579946" indent="0">
              <a:buNone/>
              <a:defRPr/>
            </a:lvl4pPr>
            <a:lvl5pPr marL="84240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807" indent="0">
              <a:buNone/>
              <a:defRPr/>
            </a:lvl3pPr>
            <a:lvl4pPr marL="579946" indent="0">
              <a:buNone/>
              <a:defRPr/>
            </a:lvl4pPr>
            <a:lvl5pPr marL="84240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18974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51277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364546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311118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3" y="121920"/>
            <a:ext cx="11704229" cy="5872480"/>
          </a:xfrm>
        </p:spPr>
        <p:txBody>
          <a:bodyPr/>
          <a:lstStyle>
            <a:lvl1pPr>
              <a:defRPr sz="12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345873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20" y="268224"/>
            <a:ext cx="7416713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842216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</a:t>
            </a:r>
            <a:r>
              <a:rPr lang="en-US" dirty="0"/>
              <a:t>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20623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1" y="1658112"/>
            <a:ext cx="5498501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452816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560667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677909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400769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4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92799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="0" i="0" baseline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136433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9" y="268224"/>
            <a:ext cx="5522885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Blue 60 rectangle">
            <a:extLst>
              <a:ext uri="{FF2B5EF4-FFF2-40B4-BE49-F238E27FC236}">
                <a16:creationId xmlns:a16="http://schemas.microsoft.com/office/drawing/2014/main" id="{91D1D188-D7EA-5A44-A392-6E9BFB996D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 dirty="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966486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096843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518850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00621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331864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1"/>
          </a:xfrm>
          <a:solidFill>
            <a:srgbClr val="0530AD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6096000" cy="3431116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6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79584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6"/>
            <a:ext cx="3048000" cy="343111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6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751638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bg1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891796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2" y="3429000"/>
            <a:ext cx="3048004" cy="3429000"/>
          </a:xfrm>
          <a:solidFill>
            <a:schemeClr val="bg1"/>
          </a:solidFill>
        </p:spPr>
        <p:txBody>
          <a:bodyPr lIns="219456" tIns="201168" rIns="228600" bIns="228600"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333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333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333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266669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chemeClr val="accent2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rgbClr val="0530AD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65875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2" y="121920"/>
            <a:ext cx="11704229" cy="5872480"/>
          </a:xfrm>
        </p:spPr>
        <p:txBody>
          <a:bodyPr/>
          <a:lstStyle>
            <a:lvl1pPr>
              <a:defRPr sz="128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87126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89455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375618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298138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42912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4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4"/>
            <a:ext cx="8546501" cy="5726176"/>
          </a:xfrm>
        </p:spPr>
        <p:txBody>
          <a:bodyPr lIns="0" tIns="0" rIns="91440" bIns="91440"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027879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529940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752918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07" indent="0">
              <a:buNone/>
              <a:defRPr/>
            </a:lvl3pPr>
            <a:lvl4pPr marL="579946" indent="0">
              <a:buNone/>
              <a:defRPr/>
            </a:lvl4pPr>
            <a:lvl5pPr marL="84240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4F04016-134E-5847-8C7D-495FF4D6E4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957001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ximo blue sign-off">
    <p:bg>
      <p:bgPr>
        <a:solidFill>
          <a:srgbClr val="0062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331BE01-B9EC-3F41-9A4B-9F1FB872A9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0928" y="3083845"/>
            <a:ext cx="1855885" cy="701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27176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ximo black sign-off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6DE404F-E17B-DC4A-9C67-B5197CF2BD5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0928" y="3083845"/>
            <a:ext cx="1855885" cy="701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10766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7416713" cy="572617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584072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0928" y="3083847"/>
            <a:ext cx="1730144" cy="690309"/>
          </a:xfrm>
          <a:prstGeom prst="rect">
            <a:avLst/>
          </a:prstGeom>
        </p:spPr>
      </p:pic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304890" y="6383869"/>
            <a:ext cx="5486313" cy="22224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331091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DL 4 Column 1 mini unit marg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75132723"/>
      </p:ext>
    </p:extLst>
  </p:cSld>
  <p:clrMapOvr>
    <a:masterClrMapping/>
  </p:clrMapOvr>
  <p:transition spd="med"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xfrm>
            <a:off x="5979063" y="6486708"/>
            <a:ext cx="227626" cy="24109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561662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954477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68809" indent="0">
              <a:buNone/>
              <a:defRPr/>
            </a:lvl3pPr>
            <a:lvl4pPr marL="579952" indent="0">
              <a:buNone/>
              <a:defRPr/>
            </a:lvl4pPr>
            <a:lvl5pPr marL="84241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68809" indent="0">
              <a:buNone/>
              <a:defRPr/>
            </a:lvl3pPr>
            <a:lvl4pPr marL="579952" indent="0">
              <a:buNone/>
              <a:defRPr/>
            </a:lvl4pPr>
            <a:lvl5pPr marL="84241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4137624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9" y="292609"/>
            <a:ext cx="5510784" cy="1072896"/>
          </a:xfrm>
        </p:spPr>
        <p:txBody>
          <a:bodyPr/>
          <a:lstStyle>
            <a:lvl1pPr>
              <a:defRPr sz="2133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7333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9584819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9" y="292609"/>
            <a:ext cx="5510784" cy="1072896"/>
          </a:xfrm>
        </p:spPr>
        <p:txBody>
          <a:bodyPr/>
          <a:lstStyle>
            <a:lvl1pPr>
              <a:defRPr sz="2133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7333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="0" i="0" baseline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35368871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81001" y="304800"/>
            <a:ext cx="7384677" cy="5872480"/>
          </a:xfrm>
        </p:spPr>
        <p:txBody>
          <a:bodyPr/>
          <a:lstStyle>
            <a:lvl1pPr>
              <a:defRPr sz="7333" b="0" i="0">
                <a:solidFill>
                  <a:schemeClr val="tx1"/>
                </a:solidFill>
                <a:latin typeface="IBM Plex Sans ExtraLight" panose="020B03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127092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9" y="268225"/>
            <a:ext cx="7416713" cy="572617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496411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35012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4339615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B512AA-57C7-2D4E-8578-66A4DDA91049}"/>
              </a:ext>
            </a:extLst>
          </p:cNvPr>
          <p:cNvSpPr/>
          <p:nvPr userDrawn="1"/>
        </p:nvSpPr>
        <p:spPr bwMode="auto">
          <a:xfrm>
            <a:off x="0" y="0"/>
            <a:ext cx="6096000" cy="6858000"/>
          </a:xfrm>
          <a:prstGeom prst="rect">
            <a:avLst/>
          </a:prstGeom>
          <a:solidFill>
            <a:schemeClr val="accent4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76200" tIns="76200" rIns="76200" bIns="762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7619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167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81000" y="1714501"/>
            <a:ext cx="5522976" cy="4392675"/>
          </a:xfrm>
        </p:spPr>
        <p:txBody>
          <a:bodyPr/>
          <a:lstStyle>
            <a:lvl1pPr>
              <a:lnSpc>
                <a:spcPct val="11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477000" y="381000"/>
            <a:ext cx="5498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5FB64E8E-F05F-6A4C-8227-5A6446D93B08}"/>
              </a:ext>
            </a:extLst>
          </p:cNvPr>
          <p:cNvSpPr txBox="1">
            <a:spLocks/>
          </p:cNvSpPr>
          <p:nvPr userDrawn="1"/>
        </p:nvSpPr>
        <p:spPr>
          <a:xfrm>
            <a:off x="762000" y="6622960"/>
            <a:ext cx="1903680" cy="182543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7" b="0" i="0" dirty="0">
                <a:solidFill>
                  <a:schemeClr val="tx1"/>
                </a:solidFill>
                <a:latin typeface="IBM Plex Sans Light" panose="020B0403050203000203" pitchFamily="34" charset="0"/>
                <a:ea typeface="IBM Plex Sans" charset="0"/>
                <a:cs typeface="IBM Plex Sans" charset="0"/>
              </a:rPr>
              <a:t>IBM Institute for Business Value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029347DB-D200-1F4C-994C-5EAC4D04704A}"/>
              </a:ext>
            </a:extLst>
          </p:cNvPr>
          <p:cNvSpPr txBox="1">
            <a:spLocks/>
          </p:cNvSpPr>
          <p:nvPr userDrawn="1"/>
        </p:nvSpPr>
        <p:spPr>
          <a:xfrm>
            <a:off x="3238500" y="6622961"/>
            <a:ext cx="1903680" cy="182543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7" b="0" i="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© 2022 IBM Corporation               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C500EB34-C0FE-3A4A-9CAD-C7E7BAA1BC24}"/>
              </a:ext>
            </a:extLst>
          </p:cNvPr>
          <p:cNvSpPr txBox="1">
            <a:spLocks/>
          </p:cNvSpPr>
          <p:nvPr userDrawn="1"/>
        </p:nvSpPr>
        <p:spPr>
          <a:xfrm>
            <a:off x="381000" y="6622960"/>
            <a:ext cx="273232" cy="17702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667" b="0" i="0">
                <a:solidFill>
                  <a:schemeClr val="tx1"/>
                </a:solidFill>
                <a:latin typeface="IBM Plex Sans Medium" panose="020B0503050203000203" pitchFamily="34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667" b="0" i="0" dirty="0">
              <a:solidFill>
                <a:schemeClr val="tx1"/>
              </a:solidFill>
              <a:latin typeface="IBM Plex Sans Medium" panose="020B0503050203000203" pitchFamily="34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635365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81000" y="381000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381000" y="1714500"/>
            <a:ext cx="5522976" cy="457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477000" y="1714500"/>
            <a:ext cx="5334000" cy="457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933092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81000" y="381000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80999" y="1714499"/>
            <a:ext cx="5524500" cy="4572000"/>
          </a:xfrm>
        </p:spPr>
        <p:txBody>
          <a:bodyPr/>
          <a:lstStyle>
            <a:lvl1pPr>
              <a:defRPr sz="2333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477000" y="1714500"/>
            <a:ext cx="5334000" cy="457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5596713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81000" y="381000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381000" y="1714500"/>
            <a:ext cx="2476500" cy="457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238500" y="1714500"/>
            <a:ext cx="2665476" cy="457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286499" y="1714500"/>
            <a:ext cx="2665476" cy="457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334500" y="1714500"/>
            <a:ext cx="2476500" cy="457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252032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81000" y="380999"/>
            <a:ext cx="5334000" cy="1143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381000" y="1714500"/>
            <a:ext cx="5334000" cy="457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367993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81000" y="381000"/>
            <a:ext cx="5522976" cy="5715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286500" y="381000"/>
            <a:ext cx="2667000" cy="5715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334500" y="381000"/>
            <a:ext cx="2476500" cy="5715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78393968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81000" y="381000"/>
            <a:ext cx="5334000" cy="5715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4F4F4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477000" y="381000"/>
            <a:ext cx="5334000" cy="5726176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09FDC2A-178A-EF48-BC02-4B87552D00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8274" y="6553200"/>
            <a:ext cx="471765" cy="19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5355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81000" y="381000"/>
            <a:ext cx="5334000" cy="5715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477000" y="381000"/>
            <a:ext cx="5334000" cy="5726176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09FDC2A-178A-EF48-BC02-4B87552D00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8274" y="6553200"/>
            <a:ext cx="471765" cy="19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72826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81000" y="381000"/>
            <a:ext cx="5334000" cy="5715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477000" y="381000"/>
            <a:ext cx="5334000" cy="5726176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09FDC2A-178A-EF48-BC02-4B87552D00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8274" y="6553200"/>
            <a:ext cx="471765" cy="19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9696253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81000" y="381000"/>
            <a:ext cx="5334000" cy="5715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B6D7572-5C32-0045-8C6C-50DA3751B5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8274" y="6553200"/>
            <a:ext cx="471765" cy="19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2456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0" y="1658112"/>
            <a:ext cx="5498501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806378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81000" y="381000"/>
            <a:ext cx="5334000" cy="5715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1198402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81000" y="380999"/>
            <a:ext cx="5522976" cy="121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0963514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xfrm>
            <a:off x="-304801" y="5231344"/>
            <a:ext cx="5486313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Group Name / DOC ID / Month XX, 2022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xfrm>
            <a:off x="4889040" y="5510743"/>
            <a:ext cx="2438309" cy="2222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AF558B-7F9E-D94C-91DC-907B299967CF}"/>
              </a:ext>
            </a:extLst>
          </p:cNvPr>
          <p:cNvCxnSpPr/>
          <p:nvPr userDrawn="1"/>
        </p:nvCxnSpPr>
        <p:spPr bwMode="auto">
          <a:xfrm flipV="1">
            <a:off x="6096000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EAF49-221E-8B43-8D20-D58F4F885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39245" y="313269"/>
            <a:ext cx="0" cy="282254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54D63C-09D4-6A49-B605-D1076B01100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9817" y="3426884"/>
            <a:ext cx="5486402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233045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2"/>
          </a:xfrm>
          <a:noFill/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6096000" cy="3431116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7703589-7433-EC4D-BE5D-6575D7E7166A}"/>
              </a:ext>
            </a:extLst>
          </p:cNvPr>
          <p:cNvCxnSpPr/>
          <p:nvPr userDrawn="1"/>
        </p:nvCxnSpPr>
        <p:spPr bwMode="auto">
          <a:xfrm flipV="1">
            <a:off x="6096000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8C1B72-1958-D34C-A6E7-456FA9B0FC9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801" y="3422651"/>
            <a:ext cx="5486402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6980A7-369F-8B4C-8947-FB084B5C4D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9817" y="3422651"/>
            <a:ext cx="5486402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55AABD-2874-C04C-A3C5-21D11C371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1024" y="313269"/>
            <a:ext cx="0" cy="282254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5412260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2" y="3426885"/>
            <a:ext cx="3048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8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8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8320A1C-9D4D-2642-8A60-4D7502759E0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3048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1D6F0D-CE7A-AD49-AE36-D798DDFEB592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096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4FA535-4023-394A-90AB-A2087397CBB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4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EB495F-72F9-774E-A3C3-3B24D9E37D7D}"/>
              </a:ext>
            </a:extLst>
          </p:cNvPr>
          <p:cNvCxnSpPr/>
          <p:nvPr userDrawn="1"/>
        </p:nvCxnSpPr>
        <p:spPr bwMode="auto">
          <a:xfrm>
            <a:off x="304800" y="3429000"/>
            <a:ext cx="11582400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4265432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6858000"/>
          </a:xfrm>
          <a:solidFill>
            <a:srgbClr val="E0E0E0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02415D-6DF4-F409-7E84-C128F4CB4A02}"/>
              </a:ext>
            </a:extLst>
          </p:cNvPr>
          <p:cNvSpPr txBox="1">
            <a:spLocks/>
          </p:cNvSpPr>
          <p:nvPr userDrawn="1"/>
        </p:nvSpPr>
        <p:spPr>
          <a:xfrm>
            <a:off x="762000" y="6622960"/>
            <a:ext cx="1903680" cy="182543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7" b="0" i="0" dirty="0">
                <a:solidFill>
                  <a:schemeClr val="tx1"/>
                </a:solidFill>
                <a:latin typeface="IBM Plex Sans Light" panose="020B0403050203000203" pitchFamily="34" charset="0"/>
                <a:ea typeface="IBM Plex Sans" charset="0"/>
                <a:cs typeface="IBM Plex Sans" charset="0"/>
              </a:rPr>
              <a:t>IBM Institute for Business Valu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C315928-F617-3DC3-C4CD-5D64464F5E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8274" y="6553200"/>
            <a:ext cx="471765" cy="190500"/>
          </a:xfrm>
          <a:prstGeom prst="rect">
            <a:avLst/>
          </a:prstGeom>
        </p:spPr>
      </p:pic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97D5FCE2-575D-D28E-FC4F-C12181C4FA08}"/>
              </a:ext>
            </a:extLst>
          </p:cNvPr>
          <p:cNvSpPr txBox="1">
            <a:spLocks/>
          </p:cNvSpPr>
          <p:nvPr userDrawn="1"/>
        </p:nvSpPr>
        <p:spPr>
          <a:xfrm>
            <a:off x="3238500" y="6622961"/>
            <a:ext cx="1903680" cy="182543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7" b="0" i="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© 2022 IBM Corporation               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72F98DC1-221A-0C7F-8199-0CADD82571FF}"/>
              </a:ext>
            </a:extLst>
          </p:cNvPr>
          <p:cNvSpPr txBox="1">
            <a:spLocks/>
          </p:cNvSpPr>
          <p:nvPr userDrawn="1"/>
        </p:nvSpPr>
        <p:spPr>
          <a:xfrm>
            <a:off x="381000" y="6622960"/>
            <a:ext cx="273232" cy="17702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667" b="0" i="0">
                <a:solidFill>
                  <a:schemeClr val="tx1"/>
                </a:solidFill>
                <a:latin typeface="IBM Plex Sans Medium" panose="020B0503050203000203" pitchFamily="34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667" b="0" i="0" dirty="0">
              <a:solidFill>
                <a:schemeClr val="tx1"/>
              </a:solidFill>
              <a:latin typeface="IBM Plex Sans Medium" panose="020B0503050203000203" pitchFamily="34" charset="0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49969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3429000"/>
            <a:ext cx="3048004" cy="342900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9477679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/>
          <p:nvPr userDrawn="1"/>
        </p:nvCxnSpPr>
        <p:spPr bwMode="auto">
          <a:xfrm flipV="1">
            <a:off x="6096000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/>
          <p:nvPr userDrawn="1"/>
        </p:nvCxnSpPr>
        <p:spPr bwMode="auto">
          <a:xfrm flipV="1">
            <a:off x="3045025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/>
          <p:nvPr userDrawn="1"/>
        </p:nvCxnSpPr>
        <p:spPr bwMode="auto">
          <a:xfrm flipV="1">
            <a:off x="9141025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8149804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212811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 flipH="1">
            <a:off x="0" y="0"/>
            <a:ext cx="3048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25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1" y="1714500"/>
            <a:ext cx="2476500" cy="3048000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defRPr sz="2333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81001" y="220980"/>
            <a:ext cx="2476500" cy="685800"/>
          </a:xfrm>
        </p:spPr>
        <p:txBody>
          <a:bodyPr tIns="0">
            <a:noAutofit/>
          </a:bodyPr>
          <a:lstStyle>
            <a:lvl1pPr>
              <a:defRPr sz="1167">
                <a:solidFill>
                  <a:schemeClr val="accent1"/>
                </a:solidFill>
              </a:defRPr>
            </a:lvl1pPr>
            <a:lvl2pPr>
              <a:defRPr sz="1333">
                <a:solidFill>
                  <a:schemeClr val="accent1"/>
                </a:solidFill>
              </a:defRPr>
            </a:lvl2pPr>
            <a:lvl3pPr>
              <a:defRPr sz="1333">
                <a:solidFill>
                  <a:schemeClr val="accent1"/>
                </a:solidFill>
              </a:defRPr>
            </a:lvl3pPr>
            <a:lvl4pPr>
              <a:defRPr sz="1333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0"/>
          </p:nvPr>
        </p:nvSpPr>
        <p:spPr>
          <a:xfrm>
            <a:off x="6096001" y="1714501"/>
            <a:ext cx="2857500" cy="4381500"/>
          </a:xfrm>
          <a:ln w="3175">
            <a:solidFill>
              <a:srgbClr val="A8A8A8"/>
            </a:solidFill>
          </a:ln>
        </p:spPr>
        <p:txBody>
          <a:bodyPr lIns="228600" tIns="228600" rIns="91440" bIns="91440">
            <a:noAutofit/>
          </a:bodyPr>
          <a:lstStyle>
            <a:lvl1pPr>
              <a:defRPr sz="2000">
                <a:solidFill>
                  <a:srgbClr val="393939"/>
                </a:solidFill>
              </a:defRPr>
            </a:lvl1pPr>
            <a:lvl2pPr>
              <a:defRPr sz="2000">
                <a:solidFill>
                  <a:srgbClr val="393939"/>
                </a:solidFill>
              </a:defRPr>
            </a:lvl2pPr>
            <a:lvl3pPr>
              <a:defRPr sz="2000">
                <a:solidFill>
                  <a:srgbClr val="393939"/>
                </a:solidFill>
              </a:defRPr>
            </a:lvl3pPr>
            <a:lvl4pPr>
              <a:defRPr sz="2000">
                <a:solidFill>
                  <a:srgbClr val="393939"/>
                </a:solidFill>
              </a:defRPr>
            </a:lvl4pPr>
            <a:lvl5pPr>
              <a:defRPr sz="2000">
                <a:solidFill>
                  <a:srgbClr val="393939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2"/>
          </p:nvPr>
        </p:nvSpPr>
        <p:spPr>
          <a:xfrm>
            <a:off x="3238500" y="1714501"/>
            <a:ext cx="2667000" cy="4381500"/>
          </a:xfrm>
          <a:ln w="3175">
            <a:solidFill>
              <a:srgbClr val="A8A8A8"/>
            </a:solidFill>
          </a:ln>
        </p:spPr>
        <p:txBody>
          <a:bodyPr lIns="228600" tIns="228600" rIns="91440" bIns="91440">
            <a:noAutofit/>
          </a:bodyPr>
          <a:lstStyle>
            <a:lvl1pPr>
              <a:defRPr sz="2000">
                <a:solidFill>
                  <a:srgbClr val="393939"/>
                </a:solidFill>
              </a:defRPr>
            </a:lvl1pPr>
            <a:lvl2pPr>
              <a:defRPr sz="2000">
                <a:solidFill>
                  <a:srgbClr val="393939"/>
                </a:solidFill>
              </a:defRPr>
            </a:lvl2pPr>
            <a:lvl3pPr>
              <a:defRPr sz="2000">
                <a:solidFill>
                  <a:srgbClr val="393939"/>
                </a:solidFill>
              </a:defRPr>
            </a:lvl3pPr>
            <a:lvl4pPr>
              <a:defRPr sz="2000">
                <a:solidFill>
                  <a:srgbClr val="393939"/>
                </a:solidFill>
              </a:defRPr>
            </a:lvl4pPr>
            <a:lvl5pPr>
              <a:defRPr sz="2000">
                <a:solidFill>
                  <a:srgbClr val="393939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9144001" y="1714501"/>
            <a:ext cx="2857500" cy="4381500"/>
          </a:xfrm>
          <a:ln w="3175">
            <a:solidFill>
              <a:srgbClr val="A8A8A8"/>
            </a:solidFill>
          </a:ln>
        </p:spPr>
        <p:txBody>
          <a:bodyPr lIns="228600" tIns="228600" rIns="91440" bIns="91440">
            <a:noAutofit/>
          </a:bodyPr>
          <a:lstStyle>
            <a:lvl1pPr>
              <a:defRPr sz="2000">
                <a:solidFill>
                  <a:srgbClr val="393939"/>
                </a:solidFill>
              </a:defRPr>
            </a:lvl1pPr>
            <a:lvl2pPr>
              <a:defRPr sz="2000">
                <a:solidFill>
                  <a:srgbClr val="393939"/>
                </a:solidFill>
              </a:defRPr>
            </a:lvl2pPr>
            <a:lvl3pPr>
              <a:defRPr sz="2000">
                <a:solidFill>
                  <a:srgbClr val="393939"/>
                </a:solidFill>
              </a:defRPr>
            </a:lvl3pPr>
            <a:lvl4pPr>
              <a:defRPr sz="2000">
                <a:solidFill>
                  <a:srgbClr val="393939"/>
                </a:solidFill>
              </a:defRPr>
            </a:lvl4pPr>
            <a:lvl5pPr>
              <a:defRPr sz="2000">
                <a:solidFill>
                  <a:srgbClr val="393939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096001"/>
            <a:ext cx="2514602" cy="403860"/>
          </a:xfrm>
        </p:spPr>
        <p:txBody>
          <a:bodyPr tIns="0" anchor="b"/>
          <a:lstStyle>
            <a:lvl1pPr>
              <a:defRPr sz="667" b="0">
                <a:solidFill>
                  <a:schemeClr val="tx1">
                    <a:alpha val="70000"/>
                  </a:schemeClr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 sz="751"/>
            </a:lvl2pPr>
            <a:lvl3pPr>
              <a:defRPr sz="751"/>
            </a:lvl3pPr>
            <a:lvl4pPr>
              <a:defRPr sz="751"/>
            </a:lvl4pPr>
            <a:lvl5pPr>
              <a:defRPr sz="751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6" name="Slide Number Placeholder 2"/>
          <p:cNvSpPr txBox="1">
            <a:spLocks/>
          </p:cNvSpPr>
          <p:nvPr userDrawn="1"/>
        </p:nvSpPr>
        <p:spPr>
          <a:xfrm>
            <a:off x="379049" y="6608240"/>
            <a:ext cx="273232" cy="18254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667" b="0" i="0" smtClean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667" b="0" i="0" dirty="0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E4A6CB2C-A792-47C7-A7CF-E51E76A06478}"/>
              </a:ext>
            </a:extLst>
          </p:cNvPr>
          <p:cNvSpPr txBox="1">
            <a:spLocks/>
          </p:cNvSpPr>
          <p:nvPr userDrawn="1"/>
        </p:nvSpPr>
        <p:spPr>
          <a:xfrm>
            <a:off x="762000" y="6622960"/>
            <a:ext cx="1903680" cy="182543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7" b="0" i="0" dirty="0">
                <a:solidFill>
                  <a:schemeClr val="tx1"/>
                </a:solidFill>
                <a:latin typeface="IBM Plex Sans Light" panose="020B0403050203000203" pitchFamily="34" charset="0"/>
                <a:ea typeface="IBM Plex Sans" charset="0"/>
                <a:cs typeface="IBM Plex Sans" charset="0"/>
              </a:rPr>
              <a:t>IBM Institute for Business Value</a:t>
            </a:r>
          </a:p>
        </p:txBody>
      </p:sp>
    </p:spTree>
    <p:extLst>
      <p:ext uri="{BB962C8B-B14F-4D97-AF65-F5344CB8AC3E}">
        <p14:creationId xmlns:p14="http://schemas.microsoft.com/office/powerpoint/2010/main" val="31434456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866201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-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 flipH="1">
            <a:off x="0" y="0"/>
            <a:ext cx="3048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25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1" y="1714500"/>
            <a:ext cx="2476500" cy="3048000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defRPr sz="2333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81001" y="220980"/>
            <a:ext cx="2476500" cy="685800"/>
          </a:xfrm>
        </p:spPr>
        <p:txBody>
          <a:bodyPr tIns="0">
            <a:noAutofit/>
          </a:bodyPr>
          <a:lstStyle>
            <a:lvl1pPr>
              <a:defRPr sz="1167">
                <a:solidFill>
                  <a:schemeClr val="accent1"/>
                </a:solidFill>
              </a:defRPr>
            </a:lvl1pPr>
            <a:lvl2pPr>
              <a:defRPr sz="1333">
                <a:solidFill>
                  <a:schemeClr val="accent1"/>
                </a:solidFill>
              </a:defRPr>
            </a:lvl2pPr>
            <a:lvl3pPr>
              <a:defRPr sz="1333">
                <a:solidFill>
                  <a:schemeClr val="accent1"/>
                </a:solidFill>
              </a:defRPr>
            </a:lvl3pPr>
            <a:lvl4pPr>
              <a:defRPr sz="1333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0"/>
          </p:nvPr>
        </p:nvSpPr>
        <p:spPr>
          <a:xfrm>
            <a:off x="6096001" y="1714501"/>
            <a:ext cx="2857500" cy="4381500"/>
          </a:xfrm>
          <a:ln w="3175">
            <a:noFill/>
          </a:ln>
        </p:spPr>
        <p:txBody>
          <a:bodyPr lIns="0" tIns="0" rIns="0" bIns="0">
            <a:noAutofit/>
          </a:bodyPr>
          <a:lstStyle>
            <a:lvl1pPr>
              <a:defRPr sz="1500">
                <a:solidFill>
                  <a:schemeClr val="tx1"/>
                </a:solidFill>
              </a:defRPr>
            </a:lvl1pPr>
            <a:lvl2pPr>
              <a:defRPr sz="1500">
                <a:solidFill>
                  <a:schemeClr val="tx1"/>
                </a:solidFill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 sz="15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2"/>
          </p:nvPr>
        </p:nvSpPr>
        <p:spPr>
          <a:xfrm>
            <a:off x="3238500" y="1714501"/>
            <a:ext cx="2667000" cy="4381500"/>
          </a:xfrm>
          <a:ln w="3175">
            <a:noFill/>
          </a:ln>
        </p:spPr>
        <p:txBody>
          <a:bodyPr lIns="0" tIns="0" rIns="0" bIns="0">
            <a:noAutofit/>
          </a:bodyPr>
          <a:lstStyle>
            <a:lvl1pPr>
              <a:defRPr sz="1500">
                <a:solidFill>
                  <a:schemeClr val="tx1"/>
                </a:solidFill>
              </a:defRPr>
            </a:lvl1pPr>
            <a:lvl2pPr>
              <a:defRPr sz="1500">
                <a:solidFill>
                  <a:schemeClr val="tx1"/>
                </a:solidFill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 sz="15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9144001" y="1714501"/>
            <a:ext cx="2857500" cy="4381500"/>
          </a:xfrm>
          <a:ln w="3175">
            <a:noFill/>
          </a:ln>
        </p:spPr>
        <p:txBody>
          <a:bodyPr lIns="0" tIns="0" rIns="0" bIns="0">
            <a:noAutofit/>
          </a:bodyPr>
          <a:lstStyle>
            <a:lvl1pPr>
              <a:defRPr sz="1500">
                <a:solidFill>
                  <a:schemeClr val="tx1"/>
                </a:solidFill>
              </a:defRPr>
            </a:lvl1pPr>
            <a:lvl2pPr>
              <a:defRPr sz="1500">
                <a:solidFill>
                  <a:schemeClr val="tx1"/>
                </a:solidFill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 sz="15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096001"/>
            <a:ext cx="2514602" cy="403860"/>
          </a:xfrm>
        </p:spPr>
        <p:txBody>
          <a:bodyPr tIns="0" anchor="b"/>
          <a:lstStyle>
            <a:lvl1pPr>
              <a:defRPr sz="667" b="0">
                <a:solidFill>
                  <a:schemeClr val="tx1">
                    <a:alpha val="70000"/>
                  </a:schemeClr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 sz="751"/>
            </a:lvl2pPr>
            <a:lvl3pPr>
              <a:defRPr sz="751"/>
            </a:lvl3pPr>
            <a:lvl4pPr>
              <a:defRPr sz="751"/>
            </a:lvl4pPr>
            <a:lvl5pPr>
              <a:defRPr sz="751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6" name="Slide Number Placeholder 2"/>
          <p:cNvSpPr txBox="1">
            <a:spLocks/>
          </p:cNvSpPr>
          <p:nvPr userDrawn="1"/>
        </p:nvSpPr>
        <p:spPr>
          <a:xfrm>
            <a:off x="379049" y="6613603"/>
            <a:ext cx="273232" cy="18254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667" b="0" i="0" smtClean="0">
                <a:solidFill>
                  <a:schemeClr val="tx1"/>
                </a:solidFill>
                <a:latin typeface="IBM Plex Sans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667" b="0" i="0" dirty="0">
              <a:solidFill>
                <a:schemeClr val="tx1"/>
              </a:solidFill>
              <a:latin typeface="IBM Plex Sans" charset="0"/>
              <a:ea typeface="IBM Plex Sans" charset="0"/>
              <a:cs typeface="IBM Plex Sans" charset="0"/>
            </a:endParaRP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1F8C2FFE-02D3-4F18-B25C-D35DB6A1DB8B}"/>
              </a:ext>
            </a:extLst>
          </p:cNvPr>
          <p:cNvSpPr txBox="1">
            <a:spLocks/>
          </p:cNvSpPr>
          <p:nvPr userDrawn="1"/>
        </p:nvSpPr>
        <p:spPr>
          <a:xfrm>
            <a:off x="762000" y="6622960"/>
            <a:ext cx="1903680" cy="182543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7" b="0" i="0" dirty="0">
                <a:solidFill>
                  <a:schemeClr val="tx1"/>
                </a:solidFill>
                <a:latin typeface="IBM Plex Sans Light" panose="020B0403050203000203" pitchFamily="34" charset="0"/>
                <a:ea typeface="IBM Plex Sans" charset="0"/>
                <a:cs typeface="IBM Plex Sans" charset="0"/>
              </a:rPr>
              <a:t>IBM Institute for Business Value</a:t>
            </a:r>
          </a:p>
        </p:txBody>
      </p:sp>
    </p:spTree>
    <p:extLst>
      <p:ext uri="{BB962C8B-B14F-4D97-AF65-F5344CB8AC3E}">
        <p14:creationId xmlns:p14="http://schemas.microsoft.com/office/powerpoint/2010/main" val="3365624533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-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048000" y="0"/>
            <a:ext cx="9144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25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1" y="1714500"/>
            <a:ext cx="2476500" cy="3048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500"/>
              </a:spcBef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81001" y="152400"/>
            <a:ext cx="2476500" cy="685800"/>
          </a:xfrm>
        </p:spPr>
        <p:txBody>
          <a:bodyPr tIns="0" anchor="t">
            <a:noAutofit/>
          </a:bodyPr>
          <a:lstStyle>
            <a:lvl1pPr>
              <a:defRPr sz="1167">
                <a:solidFill>
                  <a:srgbClr val="0F62FE"/>
                </a:solidFill>
              </a:defRPr>
            </a:lvl1pPr>
            <a:lvl2pPr>
              <a:defRPr sz="1333">
                <a:solidFill>
                  <a:schemeClr val="accent1"/>
                </a:solidFill>
              </a:defRPr>
            </a:lvl2pPr>
            <a:lvl3pPr>
              <a:defRPr sz="1333">
                <a:solidFill>
                  <a:schemeClr val="accent1"/>
                </a:solidFill>
              </a:defRPr>
            </a:lvl3pPr>
            <a:lvl4pPr>
              <a:defRPr sz="1333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0"/>
          </p:nvPr>
        </p:nvSpPr>
        <p:spPr>
          <a:xfrm>
            <a:off x="6286500" y="1714501"/>
            <a:ext cx="2819400" cy="4381500"/>
          </a:xfrm>
        </p:spPr>
        <p:txBody>
          <a:bodyPr tIns="0">
            <a:noAutofit/>
          </a:bodyPr>
          <a:lstStyle>
            <a:lvl1pPr>
              <a:defRPr sz="1500">
                <a:solidFill>
                  <a:schemeClr val="tx1"/>
                </a:solidFill>
              </a:defRPr>
            </a:lvl1pPr>
            <a:lvl2pPr marL="152394" indent="-152394">
              <a:lnSpc>
                <a:spcPct val="110000"/>
              </a:lnSpc>
              <a:spcBef>
                <a:spcPts val="1500"/>
              </a:spcBef>
              <a:defRPr sz="1500">
                <a:solidFill>
                  <a:schemeClr val="tx1"/>
                </a:solidFill>
              </a:defRPr>
            </a:lvl2pPr>
            <a:lvl3pPr marL="304788" indent="-152394">
              <a:spcBef>
                <a:spcPts val="0"/>
              </a:spcBef>
              <a:defRPr sz="1500">
                <a:solidFill>
                  <a:schemeClr val="tx1"/>
                </a:solidFill>
              </a:defRPr>
            </a:lvl3pPr>
            <a:lvl4pPr marL="457182" indent="-15239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4pPr>
            <a:lvl5pPr marL="609576" indent="-15239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2"/>
          </p:nvPr>
        </p:nvSpPr>
        <p:spPr>
          <a:xfrm>
            <a:off x="3238500" y="1714501"/>
            <a:ext cx="2819400" cy="4381500"/>
          </a:xfrm>
        </p:spPr>
        <p:txBody>
          <a:bodyPr tIns="0">
            <a:noAutofit/>
          </a:bodyPr>
          <a:lstStyle>
            <a:lvl1pPr>
              <a:defRPr sz="1500">
                <a:solidFill>
                  <a:schemeClr val="tx1"/>
                </a:solidFill>
              </a:defRPr>
            </a:lvl1pPr>
            <a:lvl2pPr marL="152394" indent="-152394">
              <a:lnSpc>
                <a:spcPct val="110000"/>
              </a:lnSpc>
              <a:spcBef>
                <a:spcPts val="1000"/>
              </a:spcBef>
              <a:defRPr sz="1500">
                <a:solidFill>
                  <a:schemeClr val="tx1"/>
                </a:solidFill>
              </a:defRPr>
            </a:lvl2pPr>
            <a:lvl3pPr marL="304788" indent="-15239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3pPr>
            <a:lvl4pPr marL="457182" indent="-15239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4pPr>
            <a:lvl5pPr marL="609576" indent="-15239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9334500" y="1714501"/>
            <a:ext cx="2667000" cy="4381500"/>
          </a:xfrm>
        </p:spPr>
        <p:txBody>
          <a:bodyPr tIns="0">
            <a:noAutofit/>
          </a:bodyPr>
          <a:lstStyle>
            <a:lvl1pPr>
              <a:defRPr sz="1500">
                <a:solidFill>
                  <a:schemeClr val="tx1"/>
                </a:solidFill>
              </a:defRPr>
            </a:lvl1pPr>
            <a:lvl2pPr marL="152394" indent="-152394">
              <a:lnSpc>
                <a:spcPct val="110000"/>
              </a:lnSpc>
              <a:spcBef>
                <a:spcPts val="1500"/>
              </a:spcBef>
              <a:defRPr sz="1500">
                <a:solidFill>
                  <a:schemeClr val="tx1"/>
                </a:solidFill>
              </a:defRPr>
            </a:lvl2pPr>
            <a:lvl3pPr marL="304788" indent="-15239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3pPr>
            <a:lvl4pPr marL="457182" indent="-15239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4pPr>
            <a:lvl5pPr marL="609576" indent="-15239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096001"/>
            <a:ext cx="2514602" cy="403860"/>
          </a:xfrm>
        </p:spPr>
        <p:txBody>
          <a:bodyPr tIns="0" anchor="b"/>
          <a:lstStyle>
            <a:lvl1pPr>
              <a:defRPr sz="667" b="0">
                <a:solidFill>
                  <a:schemeClr val="tx1">
                    <a:alpha val="60000"/>
                  </a:schemeClr>
                </a:solidFill>
              </a:defRPr>
            </a:lvl1pPr>
            <a:lvl2pPr>
              <a:defRPr sz="751"/>
            </a:lvl2pPr>
            <a:lvl3pPr>
              <a:defRPr sz="751"/>
            </a:lvl3pPr>
            <a:lvl4pPr>
              <a:defRPr sz="751"/>
            </a:lvl4pPr>
            <a:lvl5pPr>
              <a:defRPr sz="751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AE3F228-55F1-374A-AC26-CEF5CA46CC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0" y="6553200"/>
            <a:ext cx="471765" cy="190500"/>
          </a:xfrm>
          <a:prstGeom prst="rect">
            <a:avLst/>
          </a:prstGeom>
        </p:spPr>
      </p:pic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3F37BFFE-91A3-7B4D-B5B4-7DCEC3D1F2C4}"/>
              </a:ext>
            </a:extLst>
          </p:cNvPr>
          <p:cNvSpPr txBox="1">
            <a:spLocks/>
          </p:cNvSpPr>
          <p:nvPr userDrawn="1"/>
        </p:nvSpPr>
        <p:spPr>
          <a:xfrm>
            <a:off x="3238500" y="6622961"/>
            <a:ext cx="1903680" cy="182543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7" b="0" i="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© 2022 IBM Corporation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879351501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-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04800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25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1" y="1714500"/>
            <a:ext cx="2476500" cy="3048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500"/>
              </a:spcBef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81001" y="152400"/>
            <a:ext cx="2476500" cy="685800"/>
          </a:xfrm>
        </p:spPr>
        <p:txBody>
          <a:bodyPr tIns="0" anchor="t">
            <a:noAutofit/>
          </a:bodyPr>
          <a:lstStyle>
            <a:lvl1pPr>
              <a:defRPr sz="1167">
                <a:solidFill>
                  <a:srgbClr val="0F62FE"/>
                </a:solidFill>
              </a:defRPr>
            </a:lvl1pPr>
            <a:lvl2pPr>
              <a:defRPr sz="1333">
                <a:solidFill>
                  <a:schemeClr val="accent1"/>
                </a:solidFill>
              </a:defRPr>
            </a:lvl2pPr>
            <a:lvl3pPr>
              <a:defRPr sz="1333">
                <a:solidFill>
                  <a:schemeClr val="accent1"/>
                </a:solidFill>
              </a:defRPr>
            </a:lvl3pPr>
            <a:lvl4pPr>
              <a:defRPr sz="1333"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0"/>
          </p:nvPr>
        </p:nvSpPr>
        <p:spPr>
          <a:xfrm>
            <a:off x="6286500" y="1714501"/>
            <a:ext cx="2819400" cy="4381500"/>
          </a:xfrm>
        </p:spPr>
        <p:txBody>
          <a:bodyPr tIns="0">
            <a:noAutofit/>
          </a:bodyPr>
          <a:lstStyle>
            <a:lvl1pPr>
              <a:defRPr sz="1500">
                <a:solidFill>
                  <a:schemeClr val="tx1"/>
                </a:solidFill>
              </a:defRPr>
            </a:lvl1pPr>
            <a:lvl2pPr marL="152394" indent="-152394">
              <a:lnSpc>
                <a:spcPct val="110000"/>
              </a:lnSpc>
              <a:spcBef>
                <a:spcPts val="1500"/>
              </a:spcBef>
              <a:defRPr sz="1500">
                <a:solidFill>
                  <a:schemeClr val="tx1"/>
                </a:solidFill>
              </a:defRPr>
            </a:lvl2pPr>
            <a:lvl3pPr marL="304788" indent="-152394">
              <a:spcBef>
                <a:spcPts val="0"/>
              </a:spcBef>
              <a:defRPr sz="1500">
                <a:solidFill>
                  <a:schemeClr val="tx1"/>
                </a:solidFill>
              </a:defRPr>
            </a:lvl3pPr>
            <a:lvl4pPr marL="457182" indent="-15239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4pPr>
            <a:lvl5pPr marL="609576" indent="-15239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2"/>
          </p:nvPr>
        </p:nvSpPr>
        <p:spPr>
          <a:xfrm>
            <a:off x="3238500" y="1714501"/>
            <a:ext cx="2819400" cy="4381500"/>
          </a:xfrm>
        </p:spPr>
        <p:txBody>
          <a:bodyPr tIns="0">
            <a:noAutofit/>
          </a:bodyPr>
          <a:lstStyle>
            <a:lvl1pPr>
              <a:defRPr sz="1500">
                <a:solidFill>
                  <a:schemeClr val="tx1"/>
                </a:solidFill>
              </a:defRPr>
            </a:lvl1pPr>
            <a:lvl2pPr marL="152394" indent="-152394">
              <a:lnSpc>
                <a:spcPct val="110000"/>
              </a:lnSpc>
              <a:spcBef>
                <a:spcPts val="1000"/>
              </a:spcBef>
              <a:defRPr sz="1500">
                <a:solidFill>
                  <a:schemeClr val="tx1"/>
                </a:solidFill>
              </a:defRPr>
            </a:lvl2pPr>
            <a:lvl3pPr marL="304788" indent="-15239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3pPr>
            <a:lvl4pPr marL="457182" indent="-15239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4pPr>
            <a:lvl5pPr marL="609576" indent="-15239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9334500" y="1714501"/>
            <a:ext cx="2667000" cy="4381500"/>
          </a:xfrm>
        </p:spPr>
        <p:txBody>
          <a:bodyPr tIns="0">
            <a:noAutofit/>
          </a:bodyPr>
          <a:lstStyle>
            <a:lvl1pPr>
              <a:defRPr sz="1500">
                <a:solidFill>
                  <a:schemeClr val="tx1"/>
                </a:solidFill>
              </a:defRPr>
            </a:lvl1pPr>
            <a:lvl2pPr marL="152394" indent="-152394">
              <a:lnSpc>
                <a:spcPct val="110000"/>
              </a:lnSpc>
              <a:spcBef>
                <a:spcPts val="1500"/>
              </a:spcBef>
              <a:defRPr sz="1500">
                <a:solidFill>
                  <a:schemeClr val="tx1"/>
                </a:solidFill>
              </a:defRPr>
            </a:lvl2pPr>
            <a:lvl3pPr marL="304788" indent="-15239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3pPr>
            <a:lvl4pPr marL="457182" indent="-15239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4pPr>
            <a:lvl5pPr marL="609576" indent="-15239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096001"/>
            <a:ext cx="2514602" cy="403860"/>
          </a:xfrm>
        </p:spPr>
        <p:txBody>
          <a:bodyPr tIns="0" anchor="b"/>
          <a:lstStyle>
            <a:lvl1pPr>
              <a:defRPr sz="667" b="0">
                <a:solidFill>
                  <a:schemeClr val="tx1">
                    <a:alpha val="60000"/>
                  </a:schemeClr>
                </a:solidFill>
              </a:defRPr>
            </a:lvl1pPr>
            <a:lvl2pPr>
              <a:defRPr sz="751"/>
            </a:lvl2pPr>
            <a:lvl3pPr>
              <a:defRPr sz="751"/>
            </a:lvl3pPr>
            <a:lvl4pPr>
              <a:defRPr sz="751"/>
            </a:lvl4pPr>
            <a:lvl5pPr>
              <a:defRPr sz="751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AE3F228-55F1-374A-AC26-CEF5CA46CC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0" y="6553200"/>
            <a:ext cx="471765" cy="190500"/>
          </a:xfrm>
          <a:prstGeom prst="rect">
            <a:avLst/>
          </a:prstGeom>
        </p:spPr>
      </p:pic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3F37BFFE-91A3-7B4D-B5B4-7DCEC3D1F2C4}"/>
              </a:ext>
            </a:extLst>
          </p:cNvPr>
          <p:cNvSpPr txBox="1">
            <a:spLocks/>
          </p:cNvSpPr>
          <p:nvPr userDrawn="1"/>
        </p:nvSpPr>
        <p:spPr>
          <a:xfrm>
            <a:off x="3238500" y="6622961"/>
            <a:ext cx="1903680" cy="182543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7" b="0" i="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© 2022 IBM Corporation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260267559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-3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571499"/>
            <a:ext cx="5486400" cy="5524500"/>
          </a:xfrm>
        </p:spPr>
        <p:txBody>
          <a:bodyPr>
            <a:noAutofit/>
          </a:bodyPr>
          <a:lstStyle>
            <a:lvl1pPr>
              <a:defRPr b="0" i="0">
                <a:solidFill>
                  <a:schemeClr val="tx1"/>
                </a:solidFill>
                <a:latin typeface="+mj-lt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8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3429000"/>
            <a:ext cx="6096000" cy="3429000"/>
          </a:xfrm>
          <a:prstGeom prst="rect">
            <a:avLst/>
          </a:prstGeom>
          <a:noFill/>
          <a:ln>
            <a:noFill/>
          </a:ln>
        </p:spPr>
        <p:txBody>
          <a:bodyPr lIns="228600" tIns="457200" rIns="228600" bIns="228600"/>
          <a:lstStyle>
            <a:lvl1pPr>
              <a:lnSpc>
                <a:spcPct val="110000"/>
              </a:lnSpc>
              <a:spcBef>
                <a:spcPts val="1500"/>
              </a:spcBef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7"/>
          </p:nvPr>
        </p:nvSpPr>
        <p:spPr>
          <a:xfrm>
            <a:off x="6096000" y="1622"/>
            <a:ext cx="6096000" cy="3429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lIns="228600" tIns="457200" rIns="228600" bIns="228600"/>
          <a:lstStyle>
            <a:lvl1pPr>
              <a:lnSpc>
                <a:spcPct val="110000"/>
              </a:lnSpc>
              <a:spcBef>
                <a:spcPts val="1500"/>
              </a:spcBef>
              <a:defRPr sz="15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6118860"/>
            <a:ext cx="5486400" cy="381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tabLst/>
              <a:defRPr sz="667" b="0" i="0">
                <a:solidFill>
                  <a:schemeClr val="tx1">
                    <a:alpha val="70000"/>
                  </a:schemeClr>
                </a:solidFill>
                <a:latin typeface="IBM Plex Sans" charset="0"/>
                <a:ea typeface="IBM Plex Sans" charset="0"/>
                <a:cs typeface="IBM Plex Sans" charset="0"/>
              </a:defRPr>
            </a:lvl1pPr>
            <a:lvl2pPr>
              <a:defRPr sz="751"/>
            </a:lvl2pPr>
            <a:lvl3pPr>
              <a:defRPr sz="751"/>
            </a:lvl3pPr>
            <a:lvl4pPr>
              <a:defRPr sz="751"/>
            </a:lvl4pPr>
            <a:lvl5pPr>
              <a:defRPr sz="751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</p:spTree>
    <p:extLst>
      <p:ext uri="{BB962C8B-B14F-4D97-AF65-F5344CB8AC3E}">
        <p14:creationId xmlns:p14="http://schemas.microsoft.com/office/powerpoint/2010/main" val="83682879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25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714501"/>
            <a:ext cx="5486400" cy="140461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3429000"/>
            <a:ext cx="5486400" cy="2667000"/>
          </a:xfrm>
          <a:prstGeom prst="rect">
            <a:avLst/>
          </a:prstGeom>
        </p:spPr>
        <p:txBody>
          <a:bodyPr tIns="0">
            <a:noAutofit/>
          </a:bodyPr>
          <a:lstStyle>
            <a:lvl1pPr>
              <a:lnSpc>
                <a:spcPct val="110000"/>
              </a:lnSpc>
              <a:defRPr sz="15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5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500"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defRPr sz="15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9020" y="6515113"/>
            <a:ext cx="471765" cy="190502"/>
          </a:xfrm>
          <a:prstGeom prst="rect">
            <a:avLst/>
          </a:prstGeom>
        </p:spPr>
      </p:pic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7A7E9543-BFF8-2C46-992A-3D54CB0132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1000" y="6096001"/>
            <a:ext cx="5486399" cy="403860"/>
          </a:xfrm>
        </p:spPr>
        <p:txBody>
          <a:bodyPr anchor="b"/>
          <a:lstStyle>
            <a:lvl1pPr>
              <a:spcBef>
                <a:spcPts val="0"/>
              </a:spcBef>
              <a:defRPr sz="667">
                <a:solidFill>
                  <a:schemeClr val="tx1">
                    <a:alpha val="6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0188595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(5)_Title and 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048000" y="0"/>
            <a:ext cx="9144000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25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1" y="1714498"/>
            <a:ext cx="2476500" cy="457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500"/>
              </a:spcBef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0"/>
          </p:nvPr>
        </p:nvSpPr>
        <p:spPr>
          <a:xfrm>
            <a:off x="6286500" y="1714501"/>
            <a:ext cx="2667000" cy="4572000"/>
          </a:xfrm>
        </p:spPr>
        <p:txBody>
          <a:bodyPr tIns="0">
            <a:noAutofit/>
          </a:bodyPr>
          <a:lstStyle>
            <a:lvl1pPr>
              <a:defRPr sz="1500">
                <a:solidFill>
                  <a:schemeClr val="tx1"/>
                </a:solidFill>
              </a:defRPr>
            </a:lvl1pPr>
            <a:lvl2pPr marL="152394" indent="-152394">
              <a:lnSpc>
                <a:spcPct val="110000"/>
              </a:lnSpc>
              <a:spcBef>
                <a:spcPts val="1000"/>
              </a:spcBef>
              <a:defRPr sz="1500">
                <a:solidFill>
                  <a:schemeClr val="tx1"/>
                </a:solidFill>
              </a:defRPr>
            </a:lvl2pPr>
            <a:lvl3pPr marL="304788" indent="-152394">
              <a:spcBef>
                <a:spcPts val="0"/>
              </a:spcBef>
              <a:defRPr sz="1500">
                <a:solidFill>
                  <a:schemeClr val="tx1"/>
                </a:solidFill>
              </a:defRPr>
            </a:lvl3pPr>
            <a:lvl4pPr marL="457182" indent="-15239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4pPr>
            <a:lvl5pPr marL="609576" indent="-15239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2"/>
          </p:nvPr>
        </p:nvSpPr>
        <p:spPr>
          <a:xfrm>
            <a:off x="3238500" y="1714501"/>
            <a:ext cx="2667000" cy="4572000"/>
          </a:xfrm>
        </p:spPr>
        <p:txBody>
          <a:bodyPr tIns="0">
            <a:noAutofit/>
          </a:bodyPr>
          <a:lstStyle>
            <a:lvl1pPr>
              <a:defRPr sz="1500">
                <a:solidFill>
                  <a:schemeClr val="tx1"/>
                </a:solidFill>
              </a:defRPr>
            </a:lvl1pPr>
            <a:lvl2pPr marL="152394" indent="-152394">
              <a:lnSpc>
                <a:spcPct val="110000"/>
              </a:lnSpc>
              <a:spcBef>
                <a:spcPts val="1000"/>
              </a:spcBef>
              <a:defRPr sz="1500">
                <a:solidFill>
                  <a:schemeClr val="tx1"/>
                </a:solidFill>
              </a:defRPr>
            </a:lvl2pPr>
            <a:lvl3pPr marL="304788" indent="-15239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3pPr>
            <a:lvl4pPr marL="457182" indent="-15239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4pPr>
            <a:lvl5pPr marL="609576" indent="-15239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9334500" y="1714501"/>
            <a:ext cx="2476500" cy="4572000"/>
          </a:xfrm>
        </p:spPr>
        <p:txBody>
          <a:bodyPr tIns="0">
            <a:noAutofit/>
          </a:bodyPr>
          <a:lstStyle>
            <a:lvl1pPr>
              <a:defRPr sz="1500">
                <a:solidFill>
                  <a:schemeClr val="tx1"/>
                </a:solidFill>
              </a:defRPr>
            </a:lvl1pPr>
            <a:lvl2pPr marL="152394" indent="-152394">
              <a:lnSpc>
                <a:spcPct val="110000"/>
              </a:lnSpc>
              <a:spcBef>
                <a:spcPts val="1000"/>
              </a:spcBef>
              <a:defRPr sz="1500">
                <a:solidFill>
                  <a:schemeClr val="tx1"/>
                </a:solidFill>
              </a:defRPr>
            </a:lvl2pPr>
            <a:lvl3pPr marL="304788" indent="-15239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3pPr>
            <a:lvl4pPr marL="457182" indent="-15239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4pPr>
            <a:lvl5pPr marL="609576" indent="-152394">
              <a:lnSpc>
                <a:spcPct val="110000"/>
              </a:lnSpc>
              <a:spcBef>
                <a:spcPts val="0"/>
              </a:spcBef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8E03DF42-7E41-A54A-84B0-C95813E2CC0F}"/>
              </a:ext>
            </a:extLst>
          </p:cNvPr>
          <p:cNvSpPr txBox="1">
            <a:spLocks/>
          </p:cNvSpPr>
          <p:nvPr userDrawn="1"/>
        </p:nvSpPr>
        <p:spPr>
          <a:xfrm>
            <a:off x="3238500" y="6622961"/>
            <a:ext cx="1903680" cy="182543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500" kern="1200">
                <a:solidFill>
                  <a:schemeClr val="bg2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7" b="0" i="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© 2022 IBM Corporation               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C13ABAB6-1960-7F42-9DF0-3CD4A60666E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1001" y="6096000"/>
            <a:ext cx="2476500" cy="403861"/>
          </a:xfrm>
        </p:spPr>
        <p:txBody>
          <a:bodyPr anchor="b"/>
          <a:lstStyle>
            <a:lvl1pPr>
              <a:spcBef>
                <a:spcPts val="0"/>
              </a:spcBef>
              <a:defRPr sz="667">
                <a:solidFill>
                  <a:schemeClr val="tx1">
                    <a:alpha val="6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F55203BC-0806-9945-8278-AE465F353DE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1000" y="190500"/>
            <a:ext cx="2476500" cy="40386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167"/>
              </a:spcAft>
              <a:buNone/>
              <a:defRPr sz="833" b="0" i="0">
                <a:solidFill>
                  <a:srgbClr val="001141"/>
                </a:solidFill>
                <a:latin typeface="IBM Plex Sans Medium" panose="020B0503050203000203" pitchFamily="34" charset="0"/>
              </a:defRPr>
            </a:lvl1pPr>
            <a:lvl2pPr>
              <a:defRPr sz="667" b="0" i="0">
                <a:latin typeface="IBM Plex Sans Medium" panose="020B0503050203000203" pitchFamily="34" charset="0"/>
              </a:defRPr>
            </a:lvl2pPr>
            <a:lvl3pPr>
              <a:defRPr sz="667" b="0" i="0">
                <a:latin typeface="IBM Plex Sans Medium" panose="020B0503050203000203" pitchFamily="34" charset="0"/>
              </a:defRPr>
            </a:lvl3pPr>
            <a:lvl4pPr>
              <a:defRPr sz="667" b="0" i="0">
                <a:latin typeface="IBM Plex Sans Medium" panose="020B0503050203000203" pitchFamily="34" charset="0"/>
              </a:defRPr>
            </a:lvl4pPr>
            <a:lvl5pPr>
              <a:defRPr sz="667" b="0" i="0">
                <a:latin typeface="IBM Plex Sans Medium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E7B4578-5E3D-4E42-B60E-3073CC174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8274" y="6553200"/>
            <a:ext cx="471765" cy="19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017818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25" b="0" i="0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714501"/>
            <a:ext cx="5486400" cy="952500"/>
          </a:xfrm>
        </p:spPr>
        <p:txBody>
          <a:bodyPr>
            <a:noAutofit/>
          </a:bodyPr>
          <a:lstStyle>
            <a:lvl1pPr>
              <a:defRPr sz="2667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3429000"/>
            <a:ext cx="5486400" cy="2667000"/>
          </a:xfrm>
          <a:prstGeom prst="rect">
            <a:avLst/>
          </a:prstGeom>
        </p:spPr>
        <p:txBody>
          <a:bodyPr tIns="0"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/>
          </p:nvPr>
        </p:nvSpPr>
        <p:spPr>
          <a:xfrm>
            <a:off x="6286500" y="1714501"/>
            <a:ext cx="5486400" cy="4381500"/>
          </a:xfrm>
          <a:prstGeom prst="rect">
            <a:avLst/>
          </a:prstGeom>
        </p:spPr>
        <p:txBody>
          <a:bodyPr t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6118860"/>
            <a:ext cx="5562600" cy="381000"/>
          </a:xfrm>
          <a:prstGeom prst="rect">
            <a:avLst/>
          </a:prstGeom>
        </p:spPr>
        <p:txBody>
          <a:bodyPr tIns="0" anchor="b"/>
          <a:lstStyle>
            <a:lvl1pPr>
              <a:defRPr sz="667" b="0">
                <a:solidFill>
                  <a:schemeClr val="tx1">
                    <a:alpha val="70000"/>
                  </a:schemeClr>
                </a:solidFill>
              </a:defRPr>
            </a:lvl1pPr>
            <a:lvl2pPr>
              <a:defRPr sz="751"/>
            </a:lvl2pPr>
            <a:lvl3pPr>
              <a:defRPr sz="751"/>
            </a:lvl3pPr>
            <a:lvl4pPr>
              <a:defRPr sz="751"/>
            </a:lvl4pPr>
            <a:lvl5pPr>
              <a:defRPr sz="751"/>
            </a:lvl5pPr>
          </a:lstStyle>
          <a:p>
            <a:pPr lvl="0"/>
            <a:r>
              <a:rPr lang="en-US" dirty="0"/>
              <a:t>Source: Edit source her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B2F8C39-CCA2-E246-8068-B7DB5A6908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190500"/>
            <a:ext cx="5524500" cy="1905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167"/>
              </a:spcAft>
              <a:buNone/>
              <a:defRPr sz="833" b="0" i="0">
                <a:solidFill>
                  <a:srgbClr val="001141"/>
                </a:solidFill>
                <a:latin typeface="IBM Plex Sans Medium" panose="020B0503050203000203" pitchFamily="34" charset="0"/>
              </a:defRPr>
            </a:lvl1pPr>
            <a:lvl2pPr>
              <a:defRPr sz="667" b="0" i="0">
                <a:latin typeface="IBM Plex Sans Medium" panose="020B0503050203000203" pitchFamily="34" charset="0"/>
              </a:defRPr>
            </a:lvl2pPr>
            <a:lvl3pPr>
              <a:defRPr sz="667" b="0" i="0">
                <a:latin typeface="IBM Plex Sans Medium" panose="020B0503050203000203" pitchFamily="34" charset="0"/>
              </a:defRPr>
            </a:lvl3pPr>
            <a:lvl4pPr>
              <a:defRPr sz="667" b="0" i="0">
                <a:latin typeface="IBM Plex Sans Medium" panose="020B0503050203000203" pitchFamily="34" charset="0"/>
              </a:defRPr>
            </a:lvl4pPr>
            <a:lvl5pPr>
              <a:defRPr sz="667" b="0" i="0">
                <a:latin typeface="IBM Plex Sans Medium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A214620-AAA2-BF47-9655-D94735F4D3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8274" y="6553200"/>
            <a:ext cx="471765" cy="19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142967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TRIRIGA / © 2021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50" y="6256738"/>
            <a:ext cx="695452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113640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TRIRIGA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3263646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TRIRIGA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59088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6034698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TRIRIGA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421989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TRIRIGA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604118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2" y="121920"/>
            <a:ext cx="11704229" cy="5872480"/>
          </a:xfrm>
        </p:spPr>
        <p:txBody>
          <a:bodyPr/>
          <a:lstStyle>
            <a:lvl1pPr>
              <a:defRPr sz="12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TRIRIGA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374464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7416713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TRIRIGA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0314040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</a:t>
            </a:r>
            <a:r>
              <a:rPr lang="en-US" dirty="0"/>
              <a:t>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TRIRIGA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869943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0" y="1658112"/>
            <a:ext cx="5498501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TRIRIGA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7335241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TRIRIGA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378403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TRIRIGA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9987509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TRIRIGA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8133542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4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TRIRIGA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97531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68" y="610"/>
            <a:ext cx="12178064" cy="685678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10" name="Picture">
            <a:extLst>
              <a:ext uri="{FF2B5EF4-FFF2-40B4-BE49-F238E27FC236}">
                <a16:creationId xmlns:a16="http://schemas.microsoft.com/office/drawing/2014/main" id="{AF27D010-9F2C-E24B-9425-1712E90099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344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1393138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5522885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 dirty="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TRIRIGA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588986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TRIRIGA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29429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TRIRIGA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1281771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TRIRIGA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581625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TRIRIGA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47853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1"/>
          </a:xfrm>
          <a:solidFill>
            <a:srgbClr val="0530AD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6096000" cy="3431116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BM TRIRIGA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8587837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BM TRIRIGA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8561167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TRIRIGA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71967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3429000"/>
            <a:ext cx="3048004" cy="342900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333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333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333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TRIRIGA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0282109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chemeClr val="accent2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rgbClr val="0530AD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BM TRIRIGA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05350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5794458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TRIRIGA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7133685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TRIRIGA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9940241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TRIRIGA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579114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TRIRIGA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2432761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4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4"/>
            <a:ext cx="8546501" cy="5726176"/>
          </a:xfrm>
        </p:spPr>
        <p:txBody>
          <a:bodyPr lIns="0" tIns="0" rIns="91440" bIns="91440"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TRIRIGA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795536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TRIRIGA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619027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5808226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TRIRIGA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4684006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ximo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TRIRIGA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3B9ECBD-C083-C941-8798-8C7A1C0539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40026" y="2131060"/>
            <a:ext cx="5523315" cy="2148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384430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 descr="IBM 8-bar logo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0928" y="3083847"/>
            <a:ext cx="1730144" cy="690309"/>
          </a:xfrm>
          <a:prstGeom prst="rect">
            <a:avLst/>
          </a:prstGeom>
        </p:spPr>
      </p:pic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TRIRIGA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40803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5522885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7181358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Think 2018 / January 16, 2018 / © 2018 IBM Corpora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4585223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6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5492F34-CCD8-3348-90CD-B8F97EFB7A0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C4BF35-FFEB-8F44-8FC6-8B5F6864D10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FE9F7821-91F5-B140-8E09-6EE7E857545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304800" y="6436784"/>
            <a:ext cx="8534400" cy="184149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/>
              <a:t>Watson Works Enablement / © 2020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7010142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79584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92032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19747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AF558B-7F9E-D94C-91DC-907B299967CF}"/>
              </a:ext>
            </a:extLst>
          </p:cNvPr>
          <p:cNvCxnSpPr/>
          <p:nvPr userDrawn="1"/>
        </p:nvCxnSpPr>
        <p:spPr bwMode="auto">
          <a:xfrm flipV="1">
            <a:off x="6096000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EAF49-221E-8B43-8D20-D58F4F885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39245" y="313269"/>
            <a:ext cx="0" cy="282254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54D63C-09D4-6A49-B605-D1076B01100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9817" y="3426884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54604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1"/>
          </a:xfrm>
          <a:noFill/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6096000" cy="3431116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7703589-7433-EC4D-BE5D-6575D7E7166A}"/>
              </a:ext>
            </a:extLst>
          </p:cNvPr>
          <p:cNvCxnSpPr/>
          <p:nvPr userDrawn="1"/>
        </p:nvCxnSpPr>
        <p:spPr bwMode="auto">
          <a:xfrm flipV="1">
            <a:off x="6096000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8C1B72-1958-D34C-A6E7-456FA9B0FC9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801" y="3422651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6980A7-369F-8B4C-8947-FB084B5C4D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9817" y="3422651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55AABD-2874-C04C-A3C5-21D11C371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1024" y="313269"/>
            <a:ext cx="0" cy="282254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00218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8320A1C-9D4D-2642-8A60-4D7502759E0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3048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1D6F0D-CE7A-AD49-AE36-D798DDFEB592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096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4FA535-4023-394A-90AB-A2087397CBB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4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EB495F-72F9-774E-A3C3-3B24D9E37D7D}"/>
              </a:ext>
            </a:extLst>
          </p:cNvPr>
          <p:cNvCxnSpPr/>
          <p:nvPr userDrawn="1"/>
        </p:nvCxnSpPr>
        <p:spPr bwMode="auto">
          <a:xfrm>
            <a:off x="304800" y="3429000"/>
            <a:ext cx="11582400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766946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88527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68" y="609"/>
            <a:ext cx="12178064" cy="6856779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F7EA8AAE-0BDE-7D4C-B52A-496FD9C298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8170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3429000"/>
            <a:ext cx="3048004" cy="342900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61278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/>
          <p:nvPr userDrawn="1"/>
        </p:nvCxnSpPr>
        <p:spPr bwMode="auto">
          <a:xfrm flipV="1">
            <a:off x="6096000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/>
          <p:nvPr userDrawn="1"/>
        </p:nvCxnSpPr>
        <p:spPr bwMode="auto">
          <a:xfrm flipV="1">
            <a:off x="3045025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/>
          <p:nvPr userDrawn="1"/>
        </p:nvCxnSpPr>
        <p:spPr bwMode="auto">
          <a:xfrm flipV="1">
            <a:off x="9141025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44033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550602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333433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79501"/>
            <a:ext cx="2450592" cy="4336288"/>
          </a:xfrm>
        </p:spPr>
        <p:txBody>
          <a:bodyPr/>
          <a:lstStyle>
            <a:lvl1pPr>
              <a:spcBef>
                <a:spcPts val="400"/>
              </a:spcBef>
              <a:defRPr sz="1867">
                <a:solidFill>
                  <a:schemeClr val="tx1"/>
                </a:solidFill>
              </a:defRPr>
            </a:lvl1pPr>
            <a:lvl2pPr>
              <a:spcBef>
                <a:spcPts val="1467"/>
              </a:spcBef>
              <a:defRPr sz="1867">
                <a:solidFill>
                  <a:schemeClr val="tx1"/>
                </a:solidFill>
              </a:defRPr>
            </a:lvl2pPr>
            <a:lvl3pPr>
              <a:spcBef>
                <a:spcPts val="1467"/>
              </a:spcBef>
              <a:defRPr sz="1867">
                <a:solidFill>
                  <a:schemeClr val="tx1"/>
                </a:solidFill>
              </a:defRPr>
            </a:lvl3pPr>
            <a:lvl4pPr>
              <a:spcBef>
                <a:spcPts val="1467"/>
              </a:spcBef>
              <a:defRPr sz="1867">
                <a:solidFill>
                  <a:schemeClr val="tx1"/>
                </a:solidFill>
              </a:defRPr>
            </a:lvl4pPr>
            <a:lvl5pPr>
              <a:spcBef>
                <a:spcPts val="1467"/>
              </a:spcBef>
              <a:defRPr sz="18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95197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83512"/>
            <a:ext cx="2450592" cy="4336288"/>
          </a:xfrm>
        </p:spPr>
        <p:txBody>
          <a:bodyPr/>
          <a:lstStyle>
            <a:lvl1pPr>
              <a:spcBef>
                <a:spcPts val="400"/>
              </a:spcBef>
              <a:defRPr sz="1333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1333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1333">
                <a:solidFill>
                  <a:schemeClr val="tx1"/>
                </a:solidFill>
              </a:defRPr>
            </a:lvl3pPr>
            <a:lvl4pPr>
              <a:spcBef>
                <a:spcPts val="400"/>
              </a:spcBef>
              <a:defRPr sz="1333">
                <a:solidFill>
                  <a:schemeClr val="tx1"/>
                </a:solidFill>
              </a:defRPr>
            </a:lvl4pPr>
            <a:lvl5pPr>
              <a:spcBef>
                <a:spcPts val="400"/>
              </a:spcBef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77687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4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4"/>
            <a:ext cx="8546501" cy="5726176"/>
          </a:xfrm>
        </p:spPr>
        <p:txBody>
          <a:bodyPr lIns="0" tIns="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935488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80496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53311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3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800">
                <a:solidFill>
                  <a:schemeClr val="tx1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73506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09"/>
            <a:ext cx="12178061" cy="6856779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2F8C8987-724F-6B47-A6B9-8E11DF00B8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37289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30930" y="3083847"/>
            <a:ext cx="1730141" cy="69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33162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8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30931" y="3083847"/>
            <a:ext cx="1730139" cy="69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24321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30930" y="3083846"/>
            <a:ext cx="1730141" cy="690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15869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76268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FB0CD42-B3A9-EF41-B9F3-6F1EBD05C2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6381" y="0"/>
            <a:ext cx="12204760" cy="6857999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10" name="Picture">
            <a:extLst>
              <a:ext uri="{FF2B5EF4-FFF2-40B4-BE49-F238E27FC236}">
                <a16:creationId xmlns:a16="http://schemas.microsoft.com/office/drawing/2014/main" id="{AF27D010-9F2C-E24B-9425-1712E90099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837975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A527101-E5F5-9C4C-B5D7-F9144F73FE4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6381" y="0"/>
            <a:ext cx="12204761" cy="6857999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F7EA8AAE-0BDE-7D4C-B52A-496FD9C298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57254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982A9D0-51E2-9A4B-A0AD-348382A5584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6381" y="0"/>
            <a:ext cx="12204761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2F8C8987-724F-6B47-A6B9-8E11DF00B8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2653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4CD6A3F-369F-E749-9175-D96C50A328D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6382" y="0"/>
            <a:ext cx="12204763" cy="685800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7B48B5CA-5BC1-8844-81E1-24543A8F2C9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47142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6C734A6-5A60-8749-80DD-9C9325B3B09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6381" y="0"/>
            <a:ext cx="12204760" cy="6857999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22 / © 2022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16502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86274B0-227E-9645-8937-D4CEE6B75FE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6381" y="0"/>
            <a:ext cx="12204760" cy="6857999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9FC9FB8B-2D23-D949-963B-B1200DEDE8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145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10"/>
            <a:ext cx="12178061" cy="685677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7B48B5CA-5BC1-8844-81E1-24543A8F2C9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034076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21C8016-9701-0D47-B79F-D469A1F8A4D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6381" y="0"/>
            <a:ext cx="12204760" cy="6857999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14C6F24E-1E96-144E-A44F-8124FE9D9B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265846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9FEDA20-471F-F040-AD49-63DC107227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6381" y="0"/>
            <a:ext cx="12204760" cy="6857999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BE20C7ED-E83C-DE49-B49C-6FE6E39CB3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252022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874834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68551" indent="0">
              <a:buNone/>
              <a:defRPr/>
            </a:lvl3pPr>
            <a:lvl4pPr marL="579395" indent="0">
              <a:buNone/>
              <a:defRPr/>
            </a:lvl4pPr>
            <a:lvl5pPr marL="84160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68551" indent="0">
              <a:buNone/>
              <a:defRPr/>
            </a:lvl3pPr>
            <a:lvl4pPr marL="579395" indent="0">
              <a:buNone/>
              <a:defRPr/>
            </a:lvl4pPr>
            <a:lvl5pPr marL="84160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427269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7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793107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1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787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="0" i="0" baseline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60645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2" y="121920"/>
            <a:ext cx="11704229" cy="5872480"/>
          </a:xfrm>
        </p:spPr>
        <p:txBody>
          <a:bodyPr/>
          <a:lstStyle>
            <a:lvl1pPr>
              <a:defRPr sz="12787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600425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5"/>
            <a:ext cx="7416713" cy="572617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661712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02725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0" y="1658113"/>
            <a:ext cx="5498501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34933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596131-38DE-3A44-BE82-CDD2A17098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6462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22 / © 2022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529241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197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3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16591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3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3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3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964721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970372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5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369215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5"/>
            <a:ext cx="5522885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598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5"/>
            <a:ext cx="5498592" cy="5726176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BM </a:t>
            </a:r>
            <a:r>
              <a:rPr lang="en-US" dirty="0" err="1"/>
              <a:t>Makreting</a:t>
            </a:r>
            <a:r>
              <a:rPr lang="en-US" dirty="0"/>
              <a:t>  / DOC ID / April 2022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597924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631077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146331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03591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5498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noFill/>
          <a:ln>
            <a:noFill/>
          </a:ln>
        </p:spPr>
        <p:txBody>
          <a:bodyPr lIns="438912" tIns="402336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noFill/>
          <a:ln>
            <a:noFill/>
          </a:ln>
        </p:spPr>
        <p:txBody>
          <a:bodyPr lIns="438912" tIns="402336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noFill/>
          <a:ln>
            <a:noFill/>
          </a:ln>
        </p:spPr>
        <p:txBody>
          <a:bodyPr lIns="438912" tIns="402336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AF558B-7F9E-D94C-91DC-907B299967CF}"/>
              </a:ext>
            </a:extLst>
          </p:cNvPr>
          <p:cNvCxnSpPr/>
          <p:nvPr userDrawn="1"/>
        </p:nvCxnSpPr>
        <p:spPr bwMode="auto">
          <a:xfrm flipV="1">
            <a:off x="6096000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EAF49-221E-8B43-8D20-D58F4F885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39245" y="313269"/>
            <a:ext cx="0" cy="282254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54D63C-09D4-6A49-B605-D1076B01100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9817" y="3426884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067840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2"/>
          </a:xfrm>
          <a:noFill/>
        </p:spPr>
        <p:txBody>
          <a:bodyPr lIns="420624" tIns="402336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noFill/>
          <a:ln>
            <a:noFill/>
          </a:ln>
        </p:spPr>
        <p:txBody>
          <a:bodyPr lIns="438912" tIns="402336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noFill/>
          <a:ln>
            <a:noFill/>
          </a:ln>
        </p:spPr>
        <p:txBody>
          <a:bodyPr lIns="438912" tIns="402336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6096000" cy="3431116"/>
          </a:xfrm>
          <a:noFill/>
        </p:spPr>
        <p:txBody>
          <a:bodyPr lIns="438912" tIns="402336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noFill/>
          <a:ln>
            <a:noFill/>
          </a:ln>
        </p:spPr>
        <p:txBody>
          <a:bodyPr lIns="438912" tIns="402336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7703589-7433-EC4D-BE5D-6575D7E7166A}"/>
              </a:ext>
            </a:extLst>
          </p:cNvPr>
          <p:cNvCxnSpPr/>
          <p:nvPr userDrawn="1"/>
        </p:nvCxnSpPr>
        <p:spPr bwMode="auto">
          <a:xfrm flipV="1">
            <a:off x="6096000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8C1B72-1958-D34C-A6E7-456FA9B0FC9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4801" y="3422651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6980A7-369F-8B4C-8947-FB084B5C4D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389817" y="3422651"/>
            <a:ext cx="54864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55AABD-2874-C04C-A3C5-21D11C371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1024" y="313269"/>
            <a:ext cx="0" cy="282254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59062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36EA217-D975-DE4B-A991-B3A7FEFBAC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4916" y="5080"/>
            <a:ext cx="12171208" cy="685292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9FC9FB8B-2D23-D949-963B-B1200DEDE8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23526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3425950"/>
          </a:xfrm>
          <a:noFill/>
        </p:spPr>
        <p:txBody>
          <a:bodyPr lIns="338328" tIns="301752" rIns="228600" bIns="228600"/>
          <a:lstStyle>
            <a:lvl1pPr>
              <a:defRPr sz="6394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noFill/>
        </p:spPr>
        <p:txBody>
          <a:bodyPr lIns="438912" tIns="402336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noFill/>
          <a:ln>
            <a:noFill/>
          </a:ln>
        </p:spPr>
        <p:txBody>
          <a:bodyPr lIns="438912" tIns="402336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noFill/>
          <a:ln>
            <a:noFill/>
          </a:ln>
        </p:spPr>
        <p:txBody>
          <a:bodyPr lIns="438912" tIns="402336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noFill/>
          <a:ln>
            <a:noFill/>
          </a:ln>
        </p:spPr>
        <p:txBody>
          <a:bodyPr lIns="438912" tIns="402336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8320A1C-9D4D-2642-8A60-4D7502759E0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3048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1D6F0D-CE7A-AD49-AE36-D798DDFEB592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096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4FA535-4023-394A-90AB-A2087397CBB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9144000" y="3722189"/>
            <a:ext cx="0" cy="227221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EB495F-72F9-774E-A3C3-3B24D9E37D7D}"/>
              </a:ext>
            </a:extLst>
          </p:cNvPr>
          <p:cNvCxnSpPr/>
          <p:nvPr userDrawn="1"/>
        </p:nvCxnSpPr>
        <p:spPr bwMode="auto">
          <a:xfrm>
            <a:off x="304800" y="3429000"/>
            <a:ext cx="11582400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417500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420624" tIns="402336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544556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3429000"/>
            <a:ext cx="3048004" cy="3429000"/>
          </a:xfrm>
          <a:solidFill>
            <a:schemeClr val="tx2"/>
          </a:solidFill>
        </p:spPr>
        <p:txBody>
          <a:bodyPr lIns="438912" tIns="402336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1332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1332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1332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1332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79765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noFill/>
        </p:spPr>
        <p:txBody>
          <a:bodyPr lIns="438912" tIns="402336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noFill/>
        </p:spPr>
        <p:txBody>
          <a:bodyPr lIns="438912" tIns="402336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noFill/>
        </p:spPr>
        <p:txBody>
          <a:bodyPr lIns="438912" tIns="402336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noFill/>
        </p:spPr>
        <p:txBody>
          <a:bodyPr lIns="438912" tIns="402336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/>
          <p:nvPr userDrawn="1"/>
        </p:nvCxnSpPr>
        <p:spPr bwMode="auto">
          <a:xfrm flipV="1">
            <a:off x="6096000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/>
          <p:nvPr userDrawn="1"/>
        </p:nvCxnSpPr>
        <p:spPr bwMode="auto">
          <a:xfrm flipV="1">
            <a:off x="3045025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/>
          <p:nvPr userDrawn="1"/>
        </p:nvCxnSpPr>
        <p:spPr bwMode="auto">
          <a:xfrm flipV="1">
            <a:off x="9141025" y="313267"/>
            <a:ext cx="0" cy="5681133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566657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3"/>
            <a:ext cx="8534400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483446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62498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3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79501"/>
            <a:ext cx="2450592" cy="4336288"/>
          </a:xfrm>
        </p:spPr>
        <p:txBody>
          <a:bodyPr/>
          <a:lstStyle>
            <a:lvl1pPr>
              <a:spcBef>
                <a:spcPts val="400"/>
              </a:spcBef>
              <a:defRPr sz="1865">
                <a:solidFill>
                  <a:schemeClr val="tx1"/>
                </a:solidFill>
              </a:defRPr>
            </a:lvl1pPr>
            <a:lvl2pPr>
              <a:spcBef>
                <a:spcPts val="1465"/>
              </a:spcBef>
              <a:defRPr sz="1865">
                <a:solidFill>
                  <a:schemeClr val="tx1"/>
                </a:solidFill>
              </a:defRPr>
            </a:lvl2pPr>
            <a:lvl3pPr>
              <a:spcBef>
                <a:spcPts val="1465"/>
              </a:spcBef>
              <a:defRPr sz="1865">
                <a:solidFill>
                  <a:schemeClr val="tx1"/>
                </a:solidFill>
              </a:defRPr>
            </a:lvl3pPr>
            <a:lvl4pPr>
              <a:spcBef>
                <a:spcPts val="1465"/>
              </a:spcBef>
              <a:defRPr sz="1865">
                <a:solidFill>
                  <a:schemeClr val="tx1"/>
                </a:solidFill>
              </a:defRPr>
            </a:lvl4pPr>
            <a:lvl5pPr>
              <a:spcBef>
                <a:spcPts val="1465"/>
              </a:spcBef>
              <a:defRPr sz="1865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699298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3"/>
            <a:ext cx="2450592" cy="43362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83512"/>
            <a:ext cx="2450592" cy="4336288"/>
          </a:xfrm>
        </p:spPr>
        <p:txBody>
          <a:bodyPr/>
          <a:lstStyle>
            <a:lvl1pPr>
              <a:spcBef>
                <a:spcPts val="400"/>
              </a:spcBef>
              <a:defRPr sz="1332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1332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1332">
                <a:solidFill>
                  <a:schemeClr val="tx1"/>
                </a:solidFill>
              </a:defRPr>
            </a:lvl3pPr>
            <a:lvl4pPr>
              <a:spcBef>
                <a:spcPts val="400"/>
              </a:spcBef>
              <a:defRPr sz="1332">
                <a:solidFill>
                  <a:schemeClr val="tx1"/>
                </a:solidFill>
              </a:defRPr>
            </a:lvl4pPr>
            <a:lvl5pPr>
              <a:spcBef>
                <a:spcPts val="400"/>
              </a:spcBef>
              <a:defRPr sz="1332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197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499893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5"/>
            <a:ext cx="2450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5"/>
            <a:ext cx="8546501" cy="5726176"/>
          </a:xfrm>
        </p:spPr>
        <p:txBody>
          <a:bodyPr lIns="0" tIns="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46620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72910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10"/>
            <a:ext cx="12178060" cy="6856777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14C6F24E-1E96-144E-A44F-8124FE9D9B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054049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450287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2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268551" indent="0">
              <a:buNone/>
              <a:defRPr/>
            </a:lvl3pPr>
            <a:lvl4pPr marL="579395" indent="0">
              <a:buNone/>
              <a:defRPr/>
            </a:lvl4pPr>
            <a:lvl5pPr marL="84160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799">
                <a:solidFill>
                  <a:schemeClr val="tx1"/>
                </a:solidFill>
              </a:defRPr>
            </a:lvl1pPr>
            <a:lvl2pPr>
              <a:defRPr sz="799"/>
            </a:lvl2pPr>
            <a:lvl3pPr>
              <a:defRPr sz="799"/>
            </a:lvl3pPr>
            <a:lvl4pPr>
              <a:defRPr sz="799"/>
            </a:lvl4pPr>
            <a:lvl5pPr>
              <a:defRPr sz="79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84410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30930" y="3083848"/>
            <a:ext cx="1730141" cy="69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49913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8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30931" y="3083848"/>
            <a:ext cx="1730139" cy="69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53588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30930" y="3083847"/>
            <a:ext cx="1730141" cy="690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52907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22821" y="1718733"/>
            <a:ext cx="5468379" cy="427566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" descr="IBM 8-bar logo">
            <a:extLst>
              <a:ext uri="{FF2B5EF4-FFF2-40B4-BE49-F238E27FC236}">
                <a16:creationId xmlns:a16="http://schemas.microsoft.com/office/drawing/2014/main" id="{1DA8A925-477B-AF4D-A444-C355782914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50" y="6257437"/>
            <a:ext cx="695452" cy="275721"/>
          </a:xfrm>
          <a:prstGeom prst="rect">
            <a:avLst/>
          </a:prstGeom>
        </p:spPr>
      </p:pic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E81BE975-8FC4-534E-ADA6-0C45832AA80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92503" y="-173750"/>
            <a:ext cx="4081111" cy="1232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43741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AI Applications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431417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tabLst/>
              <a:defRPr/>
            </a:lvl3pPr>
            <a:lvl4pPr marL="0" indent="0">
              <a:spcBef>
                <a:spcPts val="0"/>
              </a:spcBef>
              <a:buNone/>
              <a:tabLst/>
              <a:defRPr/>
            </a:lvl4pPr>
            <a:lvl5pPr marL="0" indent="0">
              <a:spcBef>
                <a:spcPts val="0"/>
              </a:spcBef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tabLst/>
              <a:defRPr/>
            </a:lvl3pPr>
            <a:lvl4pPr marL="0" indent="0">
              <a:spcBef>
                <a:spcPts val="0"/>
              </a:spcBef>
              <a:buNone/>
              <a:tabLst/>
              <a:defRPr/>
            </a:lvl4pPr>
            <a:lvl5pPr marL="0" indent="0">
              <a:spcBef>
                <a:spcPts val="0"/>
              </a:spcBef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AI Applications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58185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 i="0">
                <a:latin typeface="IBM Plex Sans" panose="020B05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AI Applications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639453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 i="0">
                <a:latin typeface="IBM Plex Sans" panose="020B05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AI Applications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8019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970" y="609"/>
            <a:ext cx="12178060" cy="6856776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BE20C7ED-E83C-DE49-B49C-6FE6E39CB3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1191752" y="6273671"/>
            <a:ext cx="695449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22861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2" y="121920"/>
            <a:ext cx="11704229" cy="5872480"/>
          </a:xfrm>
        </p:spPr>
        <p:txBody>
          <a:bodyPr/>
          <a:lstStyle>
            <a:lvl1pPr>
              <a:defRPr sz="12800" b="1" i="0">
                <a:latin typeface="IBM Plex Sans" panose="020B05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AI Applications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61811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7416713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AI Applications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937757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AI Applications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261774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10" y="1658112"/>
            <a:ext cx="5498501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AI Applications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310078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AI Applications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919761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AI Applications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003890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AI Applications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078719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2450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4"/>
            <a:ext cx="2450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AI Applications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932343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5522885" cy="5726176"/>
          </a:xfrm>
        </p:spPr>
        <p:txBody>
          <a:bodyPr/>
          <a:lstStyle>
            <a:lvl1pPr>
              <a:defRPr>
                <a:latin typeface="IBM Plex Sans" panose="020B05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ol gray 10 rectangle">
            <a:extLst>
              <a:ext uri="{FF2B5EF4-FFF2-40B4-BE49-F238E27FC236}">
                <a16:creationId xmlns:a16="http://schemas.microsoft.com/office/drawing/2014/main" id="{838ABCAC-D266-7244-9068-DAD3FE4E7C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3F3F3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 dirty="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AI Applications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196776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AI Applications / © 2022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94827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slideLayout" Target="../slideLayouts/slideLayout68.xml"/><Relationship Id="rId39" Type="http://schemas.openxmlformats.org/officeDocument/2006/relationships/slideLayout" Target="../slideLayouts/slideLayout81.xml"/><Relationship Id="rId21" Type="http://schemas.openxmlformats.org/officeDocument/2006/relationships/slideLayout" Target="../slideLayouts/slideLayout63.xml"/><Relationship Id="rId34" Type="http://schemas.openxmlformats.org/officeDocument/2006/relationships/slideLayout" Target="../slideLayouts/slideLayout76.xml"/><Relationship Id="rId42" Type="http://schemas.openxmlformats.org/officeDocument/2006/relationships/slideLayout" Target="../slideLayouts/slideLayout84.xml"/><Relationship Id="rId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29" Type="http://schemas.openxmlformats.org/officeDocument/2006/relationships/slideLayout" Target="../slideLayouts/slideLayout71.xml"/><Relationship Id="rId41" Type="http://schemas.openxmlformats.org/officeDocument/2006/relationships/slideLayout" Target="../slideLayouts/slideLayout83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32" Type="http://schemas.openxmlformats.org/officeDocument/2006/relationships/slideLayout" Target="../slideLayouts/slideLayout74.xml"/><Relationship Id="rId37" Type="http://schemas.openxmlformats.org/officeDocument/2006/relationships/slideLayout" Target="../slideLayouts/slideLayout79.xml"/><Relationship Id="rId40" Type="http://schemas.openxmlformats.org/officeDocument/2006/relationships/slideLayout" Target="../slideLayouts/slideLayout82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28" Type="http://schemas.openxmlformats.org/officeDocument/2006/relationships/slideLayout" Target="../slideLayouts/slideLayout70.xml"/><Relationship Id="rId36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31" Type="http://schemas.openxmlformats.org/officeDocument/2006/relationships/slideLayout" Target="../slideLayouts/slideLayout73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Relationship Id="rId27" Type="http://schemas.openxmlformats.org/officeDocument/2006/relationships/slideLayout" Target="../slideLayouts/slideLayout69.xml"/><Relationship Id="rId30" Type="http://schemas.openxmlformats.org/officeDocument/2006/relationships/slideLayout" Target="../slideLayouts/slideLayout72.xml"/><Relationship Id="rId35" Type="http://schemas.openxmlformats.org/officeDocument/2006/relationships/slideLayout" Target="../slideLayouts/slideLayout77.xml"/><Relationship Id="rId43" Type="http://schemas.openxmlformats.org/officeDocument/2006/relationships/theme" Target="../theme/theme2.xml"/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slideLayout" Target="../slideLayouts/slideLayout67.xml"/><Relationship Id="rId33" Type="http://schemas.openxmlformats.org/officeDocument/2006/relationships/slideLayout" Target="../slideLayouts/slideLayout75.xml"/><Relationship Id="rId38" Type="http://schemas.openxmlformats.org/officeDocument/2006/relationships/slideLayout" Target="../slideLayouts/slideLayout80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7.xml"/><Relationship Id="rId18" Type="http://schemas.openxmlformats.org/officeDocument/2006/relationships/slideLayout" Target="../slideLayouts/slideLayout102.xml"/><Relationship Id="rId26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87.xml"/><Relationship Id="rId21" Type="http://schemas.openxmlformats.org/officeDocument/2006/relationships/slideLayout" Target="../slideLayouts/slideLayout105.xml"/><Relationship Id="rId34" Type="http://schemas.openxmlformats.org/officeDocument/2006/relationships/tags" Target="../tags/tag1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17" Type="http://schemas.openxmlformats.org/officeDocument/2006/relationships/slideLayout" Target="../slideLayouts/slideLayout101.xml"/><Relationship Id="rId25" Type="http://schemas.openxmlformats.org/officeDocument/2006/relationships/slideLayout" Target="../slideLayouts/slideLayout109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86.xml"/><Relationship Id="rId16" Type="http://schemas.openxmlformats.org/officeDocument/2006/relationships/slideLayout" Target="../slideLayouts/slideLayout100.xml"/><Relationship Id="rId20" Type="http://schemas.openxmlformats.org/officeDocument/2006/relationships/slideLayout" Target="../slideLayouts/slideLayout104.xml"/><Relationship Id="rId29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24" Type="http://schemas.openxmlformats.org/officeDocument/2006/relationships/slideLayout" Target="../slideLayouts/slideLayout108.xml"/><Relationship Id="rId32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89.xml"/><Relationship Id="rId15" Type="http://schemas.openxmlformats.org/officeDocument/2006/relationships/slideLayout" Target="../slideLayouts/slideLayout99.xml"/><Relationship Id="rId23" Type="http://schemas.openxmlformats.org/officeDocument/2006/relationships/slideLayout" Target="../slideLayouts/slideLayout107.xml"/><Relationship Id="rId28" Type="http://schemas.openxmlformats.org/officeDocument/2006/relationships/slideLayout" Target="../slideLayouts/slideLayout112.xml"/><Relationship Id="rId36" Type="http://schemas.openxmlformats.org/officeDocument/2006/relationships/image" Target="../media/image20.emf"/><Relationship Id="rId10" Type="http://schemas.openxmlformats.org/officeDocument/2006/relationships/slideLayout" Target="../slideLayouts/slideLayout94.xml"/><Relationship Id="rId19" Type="http://schemas.openxmlformats.org/officeDocument/2006/relationships/slideLayout" Target="../slideLayouts/slideLayout103.xml"/><Relationship Id="rId31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98.xml"/><Relationship Id="rId22" Type="http://schemas.openxmlformats.org/officeDocument/2006/relationships/slideLayout" Target="../slideLayouts/slideLayout106.xml"/><Relationship Id="rId27" Type="http://schemas.openxmlformats.org/officeDocument/2006/relationships/slideLayout" Target="../slideLayouts/slideLayout111.xml"/><Relationship Id="rId30" Type="http://schemas.openxmlformats.org/officeDocument/2006/relationships/slideLayout" Target="../slideLayouts/slideLayout114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92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9.xml"/><Relationship Id="rId18" Type="http://schemas.openxmlformats.org/officeDocument/2006/relationships/slideLayout" Target="../slideLayouts/slideLayout134.xml"/><Relationship Id="rId26" Type="http://schemas.openxmlformats.org/officeDocument/2006/relationships/slideLayout" Target="../slideLayouts/slideLayout142.xml"/><Relationship Id="rId3" Type="http://schemas.openxmlformats.org/officeDocument/2006/relationships/slideLayout" Target="../slideLayouts/slideLayout119.xml"/><Relationship Id="rId21" Type="http://schemas.openxmlformats.org/officeDocument/2006/relationships/slideLayout" Target="../slideLayouts/slideLayout137.xml"/><Relationship Id="rId34" Type="http://schemas.openxmlformats.org/officeDocument/2006/relationships/slideLayout" Target="../slideLayouts/slideLayout150.xml"/><Relationship Id="rId7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28.xml"/><Relationship Id="rId17" Type="http://schemas.openxmlformats.org/officeDocument/2006/relationships/slideLayout" Target="../slideLayouts/slideLayout133.xml"/><Relationship Id="rId25" Type="http://schemas.openxmlformats.org/officeDocument/2006/relationships/slideLayout" Target="../slideLayouts/slideLayout141.xml"/><Relationship Id="rId33" Type="http://schemas.openxmlformats.org/officeDocument/2006/relationships/slideLayout" Target="../slideLayouts/slideLayout149.xml"/><Relationship Id="rId2" Type="http://schemas.openxmlformats.org/officeDocument/2006/relationships/slideLayout" Target="../slideLayouts/slideLayout118.xml"/><Relationship Id="rId16" Type="http://schemas.openxmlformats.org/officeDocument/2006/relationships/slideLayout" Target="../slideLayouts/slideLayout132.xml"/><Relationship Id="rId20" Type="http://schemas.openxmlformats.org/officeDocument/2006/relationships/slideLayout" Target="../slideLayouts/slideLayout136.xml"/><Relationship Id="rId29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24" Type="http://schemas.openxmlformats.org/officeDocument/2006/relationships/slideLayout" Target="../slideLayouts/slideLayout140.xml"/><Relationship Id="rId32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21.xml"/><Relationship Id="rId15" Type="http://schemas.openxmlformats.org/officeDocument/2006/relationships/slideLayout" Target="../slideLayouts/slideLayout131.xml"/><Relationship Id="rId23" Type="http://schemas.openxmlformats.org/officeDocument/2006/relationships/slideLayout" Target="../slideLayouts/slideLayout139.xml"/><Relationship Id="rId28" Type="http://schemas.openxmlformats.org/officeDocument/2006/relationships/slideLayout" Target="../slideLayouts/slideLayout144.xml"/><Relationship Id="rId10" Type="http://schemas.openxmlformats.org/officeDocument/2006/relationships/slideLayout" Target="../slideLayouts/slideLayout126.xml"/><Relationship Id="rId19" Type="http://schemas.openxmlformats.org/officeDocument/2006/relationships/slideLayout" Target="../slideLayouts/slideLayout135.xml"/><Relationship Id="rId31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slideLayout" Target="../slideLayouts/slideLayout130.xml"/><Relationship Id="rId22" Type="http://schemas.openxmlformats.org/officeDocument/2006/relationships/slideLayout" Target="../slideLayouts/slideLayout138.xml"/><Relationship Id="rId27" Type="http://schemas.openxmlformats.org/officeDocument/2006/relationships/slideLayout" Target="../slideLayouts/slideLayout143.xml"/><Relationship Id="rId30" Type="http://schemas.openxmlformats.org/officeDocument/2006/relationships/slideLayout" Target="../slideLayouts/slideLayout146.xml"/><Relationship Id="rId35" Type="http://schemas.openxmlformats.org/officeDocument/2006/relationships/theme" Target="../theme/theme4.xml"/><Relationship Id="rId8" Type="http://schemas.openxmlformats.org/officeDocument/2006/relationships/slideLayout" Target="../slideLayouts/slideLayout12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152.xml"/><Relationship Id="rId1" Type="http://schemas.openxmlformats.org/officeDocument/2006/relationships/slideLayout" Target="../slideLayouts/slideLayout151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5.xml"/><Relationship Id="rId18" Type="http://schemas.openxmlformats.org/officeDocument/2006/relationships/slideLayout" Target="../slideLayouts/slideLayout170.xml"/><Relationship Id="rId26" Type="http://schemas.openxmlformats.org/officeDocument/2006/relationships/slideLayout" Target="../slideLayouts/slideLayout178.xml"/><Relationship Id="rId3" Type="http://schemas.openxmlformats.org/officeDocument/2006/relationships/slideLayout" Target="../slideLayouts/slideLayout155.xml"/><Relationship Id="rId21" Type="http://schemas.openxmlformats.org/officeDocument/2006/relationships/slideLayout" Target="../slideLayouts/slideLayout173.xml"/><Relationship Id="rId34" Type="http://schemas.openxmlformats.org/officeDocument/2006/relationships/slideLayout" Target="../slideLayouts/slideLayout186.xml"/><Relationship Id="rId7" Type="http://schemas.openxmlformats.org/officeDocument/2006/relationships/slideLayout" Target="../slideLayouts/slideLayout159.xml"/><Relationship Id="rId12" Type="http://schemas.openxmlformats.org/officeDocument/2006/relationships/slideLayout" Target="../slideLayouts/slideLayout164.xml"/><Relationship Id="rId17" Type="http://schemas.openxmlformats.org/officeDocument/2006/relationships/slideLayout" Target="../slideLayouts/slideLayout169.xml"/><Relationship Id="rId25" Type="http://schemas.openxmlformats.org/officeDocument/2006/relationships/slideLayout" Target="../slideLayouts/slideLayout177.xml"/><Relationship Id="rId33" Type="http://schemas.openxmlformats.org/officeDocument/2006/relationships/slideLayout" Target="../slideLayouts/slideLayout185.xml"/><Relationship Id="rId2" Type="http://schemas.openxmlformats.org/officeDocument/2006/relationships/slideLayout" Target="../slideLayouts/slideLayout154.xml"/><Relationship Id="rId16" Type="http://schemas.openxmlformats.org/officeDocument/2006/relationships/slideLayout" Target="../slideLayouts/slideLayout168.xml"/><Relationship Id="rId20" Type="http://schemas.openxmlformats.org/officeDocument/2006/relationships/slideLayout" Target="../slideLayouts/slideLayout172.xml"/><Relationship Id="rId29" Type="http://schemas.openxmlformats.org/officeDocument/2006/relationships/slideLayout" Target="../slideLayouts/slideLayout181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1" Type="http://schemas.openxmlformats.org/officeDocument/2006/relationships/slideLayout" Target="../slideLayouts/slideLayout163.xml"/><Relationship Id="rId24" Type="http://schemas.openxmlformats.org/officeDocument/2006/relationships/slideLayout" Target="../slideLayouts/slideLayout176.xml"/><Relationship Id="rId32" Type="http://schemas.openxmlformats.org/officeDocument/2006/relationships/slideLayout" Target="../slideLayouts/slideLayout184.xml"/><Relationship Id="rId5" Type="http://schemas.openxmlformats.org/officeDocument/2006/relationships/slideLayout" Target="../slideLayouts/slideLayout157.xml"/><Relationship Id="rId15" Type="http://schemas.openxmlformats.org/officeDocument/2006/relationships/slideLayout" Target="../slideLayouts/slideLayout167.xml"/><Relationship Id="rId23" Type="http://schemas.openxmlformats.org/officeDocument/2006/relationships/slideLayout" Target="../slideLayouts/slideLayout175.xml"/><Relationship Id="rId28" Type="http://schemas.openxmlformats.org/officeDocument/2006/relationships/slideLayout" Target="../slideLayouts/slideLayout180.xml"/><Relationship Id="rId36" Type="http://schemas.openxmlformats.org/officeDocument/2006/relationships/image" Target="../media/image27.png"/><Relationship Id="rId10" Type="http://schemas.openxmlformats.org/officeDocument/2006/relationships/slideLayout" Target="../slideLayouts/slideLayout162.xml"/><Relationship Id="rId19" Type="http://schemas.openxmlformats.org/officeDocument/2006/relationships/slideLayout" Target="../slideLayouts/slideLayout171.xml"/><Relationship Id="rId31" Type="http://schemas.openxmlformats.org/officeDocument/2006/relationships/slideLayout" Target="../slideLayouts/slideLayout183.xml"/><Relationship Id="rId4" Type="http://schemas.openxmlformats.org/officeDocument/2006/relationships/slideLayout" Target="../slideLayouts/slideLayout156.xml"/><Relationship Id="rId9" Type="http://schemas.openxmlformats.org/officeDocument/2006/relationships/slideLayout" Target="../slideLayouts/slideLayout161.xml"/><Relationship Id="rId14" Type="http://schemas.openxmlformats.org/officeDocument/2006/relationships/slideLayout" Target="../slideLayouts/slideLayout166.xml"/><Relationship Id="rId22" Type="http://schemas.openxmlformats.org/officeDocument/2006/relationships/slideLayout" Target="../slideLayouts/slideLayout174.xml"/><Relationship Id="rId27" Type="http://schemas.openxmlformats.org/officeDocument/2006/relationships/slideLayout" Target="../slideLayouts/slideLayout179.xml"/><Relationship Id="rId30" Type="http://schemas.openxmlformats.org/officeDocument/2006/relationships/slideLayout" Target="../slideLayouts/slideLayout182.xml"/><Relationship Id="rId35" Type="http://schemas.openxmlformats.org/officeDocument/2006/relationships/theme" Target="../theme/theme6.xml"/><Relationship Id="rId8" Type="http://schemas.openxmlformats.org/officeDocument/2006/relationships/slideLayout" Target="../slideLayouts/slideLayout160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9.xml"/><Relationship Id="rId18" Type="http://schemas.openxmlformats.org/officeDocument/2006/relationships/slideLayout" Target="../slideLayouts/slideLayout204.xml"/><Relationship Id="rId26" Type="http://schemas.openxmlformats.org/officeDocument/2006/relationships/slideLayout" Target="../slideLayouts/slideLayout212.xml"/><Relationship Id="rId3" Type="http://schemas.openxmlformats.org/officeDocument/2006/relationships/slideLayout" Target="../slideLayouts/slideLayout189.xml"/><Relationship Id="rId21" Type="http://schemas.openxmlformats.org/officeDocument/2006/relationships/slideLayout" Target="../slideLayouts/slideLayout207.xml"/><Relationship Id="rId34" Type="http://schemas.openxmlformats.org/officeDocument/2006/relationships/slideLayout" Target="../slideLayouts/slideLayout220.xml"/><Relationship Id="rId7" Type="http://schemas.openxmlformats.org/officeDocument/2006/relationships/slideLayout" Target="../slideLayouts/slideLayout193.xml"/><Relationship Id="rId12" Type="http://schemas.openxmlformats.org/officeDocument/2006/relationships/slideLayout" Target="../slideLayouts/slideLayout198.xml"/><Relationship Id="rId17" Type="http://schemas.openxmlformats.org/officeDocument/2006/relationships/slideLayout" Target="../slideLayouts/slideLayout203.xml"/><Relationship Id="rId25" Type="http://schemas.openxmlformats.org/officeDocument/2006/relationships/slideLayout" Target="../slideLayouts/slideLayout211.xml"/><Relationship Id="rId33" Type="http://schemas.openxmlformats.org/officeDocument/2006/relationships/slideLayout" Target="../slideLayouts/slideLayout219.xml"/><Relationship Id="rId2" Type="http://schemas.openxmlformats.org/officeDocument/2006/relationships/slideLayout" Target="../slideLayouts/slideLayout188.xml"/><Relationship Id="rId16" Type="http://schemas.openxmlformats.org/officeDocument/2006/relationships/slideLayout" Target="../slideLayouts/slideLayout202.xml"/><Relationship Id="rId20" Type="http://schemas.openxmlformats.org/officeDocument/2006/relationships/slideLayout" Target="../slideLayouts/slideLayout206.xml"/><Relationship Id="rId29" Type="http://schemas.openxmlformats.org/officeDocument/2006/relationships/slideLayout" Target="../slideLayouts/slideLayout215.xml"/><Relationship Id="rId1" Type="http://schemas.openxmlformats.org/officeDocument/2006/relationships/slideLayout" Target="../slideLayouts/slideLayout187.xml"/><Relationship Id="rId6" Type="http://schemas.openxmlformats.org/officeDocument/2006/relationships/slideLayout" Target="../slideLayouts/slideLayout192.xml"/><Relationship Id="rId11" Type="http://schemas.openxmlformats.org/officeDocument/2006/relationships/slideLayout" Target="../slideLayouts/slideLayout197.xml"/><Relationship Id="rId24" Type="http://schemas.openxmlformats.org/officeDocument/2006/relationships/slideLayout" Target="../slideLayouts/slideLayout210.xml"/><Relationship Id="rId32" Type="http://schemas.openxmlformats.org/officeDocument/2006/relationships/slideLayout" Target="../slideLayouts/slideLayout218.xml"/><Relationship Id="rId5" Type="http://schemas.openxmlformats.org/officeDocument/2006/relationships/slideLayout" Target="../slideLayouts/slideLayout191.xml"/><Relationship Id="rId15" Type="http://schemas.openxmlformats.org/officeDocument/2006/relationships/slideLayout" Target="../slideLayouts/slideLayout201.xml"/><Relationship Id="rId23" Type="http://schemas.openxmlformats.org/officeDocument/2006/relationships/slideLayout" Target="../slideLayouts/slideLayout209.xml"/><Relationship Id="rId28" Type="http://schemas.openxmlformats.org/officeDocument/2006/relationships/slideLayout" Target="../slideLayouts/slideLayout214.xml"/><Relationship Id="rId36" Type="http://schemas.openxmlformats.org/officeDocument/2006/relationships/theme" Target="../theme/theme7.xml"/><Relationship Id="rId10" Type="http://schemas.openxmlformats.org/officeDocument/2006/relationships/slideLayout" Target="../slideLayouts/slideLayout196.xml"/><Relationship Id="rId19" Type="http://schemas.openxmlformats.org/officeDocument/2006/relationships/slideLayout" Target="../slideLayouts/slideLayout205.xml"/><Relationship Id="rId31" Type="http://schemas.openxmlformats.org/officeDocument/2006/relationships/slideLayout" Target="../slideLayouts/slideLayout217.xml"/><Relationship Id="rId4" Type="http://schemas.openxmlformats.org/officeDocument/2006/relationships/slideLayout" Target="../slideLayouts/slideLayout190.xml"/><Relationship Id="rId9" Type="http://schemas.openxmlformats.org/officeDocument/2006/relationships/slideLayout" Target="../slideLayouts/slideLayout195.xml"/><Relationship Id="rId14" Type="http://schemas.openxmlformats.org/officeDocument/2006/relationships/slideLayout" Target="../slideLayouts/slideLayout200.xml"/><Relationship Id="rId22" Type="http://schemas.openxmlformats.org/officeDocument/2006/relationships/slideLayout" Target="../slideLayouts/slideLayout208.xml"/><Relationship Id="rId27" Type="http://schemas.openxmlformats.org/officeDocument/2006/relationships/slideLayout" Target="../slideLayouts/slideLayout213.xml"/><Relationship Id="rId30" Type="http://schemas.openxmlformats.org/officeDocument/2006/relationships/slideLayout" Target="../slideLayouts/slideLayout216.xml"/><Relationship Id="rId35" Type="http://schemas.openxmlformats.org/officeDocument/2006/relationships/slideLayout" Target="../slideLayouts/slideLayout221.xml"/><Relationship Id="rId8" Type="http://schemas.openxmlformats.org/officeDocument/2006/relationships/slideLayout" Target="../slideLayouts/slideLayout19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4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89" y="6400801"/>
            <a:ext cx="5486313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2" y="6400801"/>
            <a:ext cx="2438309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0BB8D8-C46D-7A4B-97AF-798F102BA8D4}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28219"/>
              <a:ext cx="91440" cy="4686681"/>
              <a:chOff x="-109730" y="228219"/>
              <a:chExt cx="91440" cy="4686681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745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821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1490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28219"/>
              <a:ext cx="91440" cy="4685665"/>
              <a:chOff x="-109730" y="221869"/>
              <a:chExt cx="91440" cy="4685665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110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186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75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09546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75" r:id="rId1"/>
    <p:sldLayoutId id="2147484476" r:id="rId2"/>
    <p:sldLayoutId id="2147484477" r:id="rId3"/>
    <p:sldLayoutId id="2147484478" r:id="rId4"/>
    <p:sldLayoutId id="2147484479" r:id="rId5"/>
    <p:sldLayoutId id="2147484480" r:id="rId6"/>
    <p:sldLayoutId id="2147484481" r:id="rId7"/>
    <p:sldLayoutId id="2147484482" r:id="rId8"/>
    <p:sldLayoutId id="2147484483" r:id="rId9"/>
    <p:sldLayoutId id="2147484484" r:id="rId10"/>
    <p:sldLayoutId id="2147484485" r:id="rId11"/>
    <p:sldLayoutId id="2147484486" r:id="rId12"/>
    <p:sldLayoutId id="2147484487" r:id="rId13"/>
    <p:sldLayoutId id="2147484488" r:id="rId14"/>
    <p:sldLayoutId id="2147484489" r:id="rId15"/>
    <p:sldLayoutId id="2147484490" r:id="rId16"/>
    <p:sldLayoutId id="2147484491" r:id="rId17"/>
    <p:sldLayoutId id="2147484492" r:id="rId18"/>
    <p:sldLayoutId id="2147484493" r:id="rId19"/>
    <p:sldLayoutId id="2147484494" r:id="rId20"/>
    <p:sldLayoutId id="2147484495" r:id="rId21"/>
    <p:sldLayoutId id="2147484496" r:id="rId22"/>
    <p:sldLayoutId id="2147484497" r:id="rId23"/>
    <p:sldLayoutId id="2147484498" r:id="rId24"/>
    <p:sldLayoutId id="2147484499" r:id="rId25"/>
    <p:sldLayoutId id="2147484500" r:id="rId26"/>
    <p:sldLayoutId id="2147484501" r:id="rId27"/>
    <p:sldLayoutId id="2147484502" r:id="rId28"/>
    <p:sldLayoutId id="2147484503" r:id="rId29"/>
    <p:sldLayoutId id="2147484504" r:id="rId30"/>
    <p:sldLayoutId id="2147484505" r:id="rId31"/>
    <p:sldLayoutId id="2147484506" r:id="rId32"/>
    <p:sldLayoutId id="2147484507" r:id="rId33"/>
    <p:sldLayoutId id="2147484508" r:id="rId34"/>
    <p:sldLayoutId id="2147484509" r:id="rId35"/>
    <p:sldLayoutId id="2147484510" r:id="rId36"/>
    <p:sldLayoutId id="2147484511" r:id="rId37"/>
    <p:sldLayoutId id="2147484512" r:id="rId38"/>
    <p:sldLayoutId id="2147484513" r:id="rId39"/>
    <p:sldLayoutId id="2147484514" r:id="rId40"/>
    <p:sldLayoutId id="2147484515" r:id="rId41"/>
    <p:sldLayoutId id="2147484516" r:id="rId42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5pPr>
      <a:lvl6pPr marL="48341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6pPr>
      <a:lvl7pPr marL="96682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7pPr>
      <a:lvl8pPr marL="145024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8pPr>
      <a:lvl9pPr marL="193365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228597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457195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83819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67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107102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86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2111575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6pPr>
      <a:lvl7pPr marL="2594990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7pPr>
      <a:lvl8pPr marL="3078403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8pPr>
      <a:lvl9pPr marL="3561818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412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82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24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65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706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479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89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306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94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5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5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89" y="6400801"/>
            <a:ext cx="5486313" cy="222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3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99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2" y="6400801"/>
            <a:ext cx="2438309" cy="222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99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0BB8D8-C46D-7A4B-97AF-798F102BA8D4}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28219"/>
              <a:ext cx="91440" cy="4686681"/>
              <a:chOff x="-109730" y="228219"/>
              <a:chExt cx="91440" cy="4686681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745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821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1490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28219"/>
              <a:ext cx="91440" cy="4685665"/>
              <a:chOff x="-109730" y="221869"/>
              <a:chExt cx="91440" cy="4685665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110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186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75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08185698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90" r:id="rId1"/>
    <p:sldLayoutId id="2147484591" r:id="rId2"/>
    <p:sldLayoutId id="2147484592" r:id="rId3"/>
    <p:sldLayoutId id="2147484593" r:id="rId4"/>
    <p:sldLayoutId id="2147484594" r:id="rId5"/>
    <p:sldLayoutId id="2147484595" r:id="rId6"/>
    <p:sldLayoutId id="2147484596" r:id="rId7"/>
    <p:sldLayoutId id="2147484597" r:id="rId8"/>
    <p:sldLayoutId id="2147484598" r:id="rId9"/>
    <p:sldLayoutId id="2147484599" r:id="rId10"/>
    <p:sldLayoutId id="2147484600" r:id="rId11"/>
    <p:sldLayoutId id="2147484601" r:id="rId12"/>
    <p:sldLayoutId id="2147484602" r:id="rId13"/>
    <p:sldLayoutId id="2147484603" r:id="rId14"/>
    <p:sldLayoutId id="2147484604" r:id="rId15"/>
    <p:sldLayoutId id="2147484605" r:id="rId16"/>
    <p:sldLayoutId id="2147484606" r:id="rId17"/>
    <p:sldLayoutId id="2147484607" r:id="rId18"/>
    <p:sldLayoutId id="2147484608" r:id="rId19"/>
    <p:sldLayoutId id="2147484609" r:id="rId20"/>
    <p:sldLayoutId id="2147484610" r:id="rId21"/>
    <p:sldLayoutId id="2147484611" r:id="rId22"/>
    <p:sldLayoutId id="2147484612" r:id="rId23"/>
    <p:sldLayoutId id="2147484613" r:id="rId24"/>
    <p:sldLayoutId id="2147484614" r:id="rId25"/>
    <p:sldLayoutId id="2147484615" r:id="rId26"/>
    <p:sldLayoutId id="2147484616" r:id="rId27"/>
    <p:sldLayoutId id="2147484617" r:id="rId28"/>
    <p:sldLayoutId id="2147484618" r:id="rId29"/>
    <p:sldLayoutId id="2147484619" r:id="rId30"/>
    <p:sldLayoutId id="2147484620" r:id="rId31"/>
    <p:sldLayoutId id="2147484621" r:id="rId32"/>
    <p:sldLayoutId id="2147484622" r:id="rId33"/>
    <p:sldLayoutId id="2147484623" r:id="rId34"/>
    <p:sldLayoutId id="2147484624" r:id="rId35"/>
    <p:sldLayoutId id="2147484625" r:id="rId36"/>
    <p:sldLayoutId id="2147484626" r:id="rId37"/>
    <p:sldLayoutId id="2147484627" r:id="rId38"/>
    <p:sldLayoutId id="2147484628" r:id="rId39"/>
    <p:sldLayoutId id="2147484629" r:id="rId40"/>
    <p:sldLayoutId id="2147484630" r:id="rId41"/>
    <p:sldLayoutId id="2147484631" r:id="rId42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97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IBM Plex Sans Light" pitchFamily="34" charset="0"/>
        </a:defRPr>
      </a:lvl5pPr>
      <a:lvl6pPr marL="48294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IBM Plex Sans Light" pitchFamily="34" charset="0"/>
        </a:defRPr>
      </a:lvl6pPr>
      <a:lvl7pPr marL="96588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IBM Plex Sans Light" pitchFamily="34" charset="0"/>
        </a:defRPr>
      </a:lvl7pPr>
      <a:lvl8pPr marL="14488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IBM Plex Sans Light" pitchFamily="34" charset="0"/>
        </a:defRPr>
      </a:lvl8pPr>
      <a:lvl9pPr marL="19317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7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865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228374" indent="-231416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65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456749" indent="-231416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865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837372" indent="-231416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865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1065733" indent="-231416" algn="l" rtl="0" eaLnBrk="1" fontAlgn="base" hangingPunct="1">
        <a:lnSpc>
          <a:spcPct val="100000"/>
        </a:lnSpc>
        <a:spcBef>
          <a:spcPts val="1465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865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2109516" indent="-17272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0">
          <a:solidFill>
            <a:schemeClr val="bg1"/>
          </a:solidFill>
          <a:latin typeface="IBM Plex Sans Light" charset="0"/>
        </a:defRPr>
      </a:lvl6pPr>
      <a:lvl7pPr marL="2592460" indent="-17272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0">
          <a:solidFill>
            <a:schemeClr val="bg1"/>
          </a:solidFill>
          <a:latin typeface="IBM Plex Sans Light" charset="0"/>
        </a:defRPr>
      </a:lvl7pPr>
      <a:lvl8pPr marL="3075402" indent="-17272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0">
          <a:solidFill>
            <a:schemeClr val="bg1"/>
          </a:solidFill>
          <a:latin typeface="IBM Plex Sans Light" charset="0"/>
        </a:defRPr>
      </a:lvl8pPr>
      <a:lvl9pPr marL="3558345" indent="-17272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0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965885" rtl="0" eaLnBrk="1" latinLnBrk="0" hangingPunct="1">
        <a:defRPr sz="1902" kern="1200">
          <a:solidFill>
            <a:schemeClr val="tx1"/>
          </a:solidFill>
          <a:latin typeface="+mn-lt"/>
          <a:ea typeface="+mn-ea"/>
          <a:cs typeface="+mn-cs"/>
        </a:defRPr>
      </a:lvl1pPr>
      <a:lvl2pPr marL="482941" algn="l" defTabSz="965885" rtl="0" eaLnBrk="1" latinLnBrk="0" hangingPunct="1">
        <a:defRPr sz="1902" kern="1200">
          <a:solidFill>
            <a:schemeClr val="tx1"/>
          </a:solidFill>
          <a:latin typeface="+mn-lt"/>
          <a:ea typeface="+mn-ea"/>
          <a:cs typeface="+mn-cs"/>
        </a:defRPr>
      </a:lvl2pPr>
      <a:lvl3pPr marL="965885" algn="l" defTabSz="965885" rtl="0" eaLnBrk="1" latinLnBrk="0" hangingPunct="1">
        <a:defRPr sz="1902" kern="1200">
          <a:solidFill>
            <a:schemeClr val="tx1"/>
          </a:solidFill>
          <a:latin typeface="+mn-lt"/>
          <a:ea typeface="+mn-ea"/>
          <a:cs typeface="+mn-cs"/>
        </a:defRPr>
      </a:lvl3pPr>
      <a:lvl4pPr marL="1448826" algn="l" defTabSz="965885" rtl="0" eaLnBrk="1" latinLnBrk="0" hangingPunct="1">
        <a:defRPr sz="1902" kern="1200">
          <a:solidFill>
            <a:schemeClr val="tx1"/>
          </a:solidFill>
          <a:latin typeface="+mn-lt"/>
          <a:ea typeface="+mn-ea"/>
          <a:cs typeface="+mn-cs"/>
        </a:defRPr>
      </a:lvl4pPr>
      <a:lvl5pPr marL="1931768" algn="l" defTabSz="965885" rtl="0" eaLnBrk="1" latinLnBrk="0" hangingPunct="1">
        <a:defRPr sz="1902" kern="1200">
          <a:solidFill>
            <a:schemeClr val="tx1"/>
          </a:solidFill>
          <a:latin typeface="+mn-lt"/>
          <a:ea typeface="+mn-ea"/>
          <a:cs typeface="+mn-cs"/>
        </a:defRPr>
      </a:lvl5pPr>
      <a:lvl6pPr marL="2414711" algn="l" defTabSz="965885" rtl="0" eaLnBrk="1" latinLnBrk="0" hangingPunct="1">
        <a:defRPr sz="1902" kern="1200">
          <a:solidFill>
            <a:schemeClr val="tx1"/>
          </a:solidFill>
          <a:latin typeface="+mn-lt"/>
          <a:ea typeface="+mn-ea"/>
          <a:cs typeface="+mn-cs"/>
        </a:defRPr>
      </a:lvl6pPr>
      <a:lvl7pPr marL="2897651" algn="l" defTabSz="965885" rtl="0" eaLnBrk="1" latinLnBrk="0" hangingPunct="1">
        <a:defRPr sz="1902" kern="1200">
          <a:solidFill>
            <a:schemeClr val="tx1"/>
          </a:solidFill>
          <a:latin typeface="+mn-lt"/>
          <a:ea typeface="+mn-ea"/>
          <a:cs typeface="+mn-cs"/>
        </a:defRPr>
      </a:lvl7pPr>
      <a:lvl8pPr marL="3380593" algn="l" defTabSz="965885" rtl="0" eaLnBrk="1" latinLnBrk="0" hangingPunct="1">
        <a:defRPr sz="1902" kern="1200">
          <a:solidFill>
            <a:schemeClr val="tx1"/>
          </a:solidFill>
          <a:latin typeface="+mn-lt"/>
          <a:ea typeface="+mn-ea"/>
          <a:cs typeface="+mn-cs"/>
        </a:defRPr>
      </a:lvl8pPr>
      <a:lvl9pPr marL="3863535" algn="l" defTabSz="965885" rtl="0" eaLnBrk="1" latinLnBrk="0" hangingPunct="1">
        <a:defRPr sz="19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8">
          <p15:clr>
            <a:srgbClr val="F26B43"/>
          </p15:clr>
        </p15:guide>
        <p15:guide id="2" pos="288">
          <p15:clr>
            <a:srgbClr val="F26B43"/>
          </p15:clr>
        </p15:guide>
        <p15:guide id="3" pos="11232">
          <p15:clr>
            <a:srgbClr val="F26B43"/>
          </p15:clr>
        </p15:guide>
        <p15:guide id="4" orient="horz" pos="5669">
          <p15:clr>
            <a:srgbClr val="F26B43"/>
          </p15:clr>
        </p15:guide>
        <p15:guide id="5" orient="horz" pos="6194">
          <p15:clr>
            <a:srgbClr val="F26B43"/>
          </p15:clr>
        </p15:guide>
        <p15:guide id="6" pos="5760">
          <p15:clr>
            <a:srgbClr val="F26B43"/>
          </p15:clr>
        </p15:guide>
        <p15:guide id="7" pos="5472">
          <p15:clr>
            <a:srgbClr val="F26B43"/>
          </p15:clr>
        </p15:guide>
        <p15:guide id="8" pos="2880">
          <p15:clr>
            <a:srgbClr val="F26B43"/>
          </p15:clr>
        </p15:guide>
        <p15:guide id="9" pos="6048">
          <p15:clr>
            <a:srgbClr val="F26B43"/>
          </p15:clr>
        </p15:guide>
        <p15:guide id="10" pos="2592">
          <p15:clr>
            <a:srgbClr val="F26B43"/>
          </p15:clr>
        </p15:guide>
        <p15:guide id="11" pos="3168">
          <p15:clr>
            <a:srgbClr val="F26B43"/>
          </p15:clr>
        </p15:guide>
        <p15:guide id="12" pos="8640">
          <p15:clr>
            <a:srgbClr val="F26B43"/>
          </p15:clr>
        </p15:guide>
        <p15:guide id="13" pos="8352">
          <p15:clr>
            <a:srgbClr val="F26B43"/>
          </p15:clr>
        </p15:guide>
        <p15:guide id="14" pos="8928">
          <p15:clr>
            <a:srgbClr val="F26B43"/>
          </p15:clr>
        </p15:guide>
        <p15:guide id="15" orient="horz" pos="825">
          <p15:clr>
            <a:srgbClr val="F26B43"/>
          </p15:clr>
        </p15:guide>
        <p15:guide id="17" orient="horz" pos="1626">
          <p15:clr>
            <a:srgbClr val="F26B43"/>
          </p15:clr>
        </p15:guide>
        <p15:guide id="18" orient="horz" pos="3243">
          <p15:clr>
            <a:srgbClr val="F26B43"/>
          </p15:clr>
        </p15:guide>
        <p15:guide id="19" orient="horz" pos="2434">
          <p15:clr>
            <a:srgbClr val="F26B43"/>
          </p15:clr>
        </p15:guide>
        <p15:guide id="20" orient="horz" pos="4048">
          <p15:clr>
            <a:srgbClr val="F26B43"/>
          </p15:clr>
        </p15:guide>
        <p15:guide id="21" orient="horz" pos="485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BF37EE5-FD40-4AEE-8469-5F987F06D4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129223146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306" imgH="306" progId="TCLayout.ActiveDocument.1">
                  <p:embed/>
                </p:oleObj>
              </mc:Choice>
              <mc:Fallback>
                <p:oleObj name="think-cell Slide" r:id="rId35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BF37EE5-FD40-4AEE-8469-5F987F06D4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4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89" y="6383868"/>
            <a:ext cx="5486313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bg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AI Applications / © 2022 IBM Corporation</a:t>
            </a: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2" y="6383868"/>
            <a:ext cx="2438309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bg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1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7656499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633" r:id="rId1"/>
    <p:sldLayoutId id="2147484634" r:id="rId2"/>
    <p:sldLayoutId id="2147484635" r:id="rId3"/>
    <p:sldLayoutId id="2147484636" r:id="rId4"/>
    <p:sldLayoutId id="2147484637" r:id="rId5"/>
    <p:sldLayoutId id="2147484638" r:id="rId6"/>
    <p:sldLayoutId id="2147484639" r:id="rId7"/>
    <p:sldLayoutId id="2147484640" r:id="rId8"/>
    <p:sldLayoutId id="2147484641" r:id="rId9"/>
    <p:sldLayoutId id="2147484642" r:id="rId10"/>
    <p:sldLayoutId id="2147484643" r:id="rId11"/>
    <p:sldLayoutId id="2147484644" r:id="rId12"/>
    <p:sldLayoutId id="2147484645" r:id="rId13"/>
    <p:sldLayoutId id="2147484646" r:id="rId14"/>
    <p:sldLayoutId id="2147484647" r:id="rId15"/>
    <p:sldLayoutId id="2147484648" r:id="rId16"/>
    <p:sldLayoutId id="2147484649" r:id="rId17"/>
    <p:sldLayoutId id="2147484650" r:id="rId18"/>
    <p:sldLayoutId id="2147484651" r:id="rId19"/>
    <p:sldLayoutId id="2147484652" r:id="rId20"/>
    <p:sldLayoutId id="2147484653" r:id="rId21"/>
    <p:sldLayoutId id="2147484654" r:id="rId22"/>
    <p:sldLayoutId id="2147484655" r:id="rId23"/>
    <p:sldLayoutId id="2147484656" r:id="rId24"/>
    <p:sldLayoutId id="2147484657" r:id="rId25"/>
    <p:sldLayoutId id="2147484658" r:id="rId26"/>
    <p:sldLayoutId id="2147484659" r:id="rId27"/>
    <p:sldLayoutId id="2147484660" r:id="rId28"/>
    <p:sldLayoutId id="2147484661" r:id="rId29"/>
    <p:sldLayoutId id="2147484662" r:id="rId30"/>
    <p:sldLayoutId id="2147484663" r:id="rId31"/>
    <p:sldLayoutId id="2147484664" r:id="rId32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5pPr>
      <a:lvl6pPr marL="48341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6pPr>
      <a:lvl7pPr marL="96682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7pPr>
      <a:lvl8pPr marL="145024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8pPr>
      <a:lvl9pPr marL="193365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6D6E70"/>
        </a:buClr>
        <a:buSzPct val="90000"/>
        <a:buFont typeface="Wingdings" pitchFamily="2" charset="2"/>
        <a:buNone/>
        <a:defRPr sz="1867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marL="228597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SzPct val="100000"/>
        <a:buFont typeface=".AppleSystemUIFont" charset="-120"/>
        <a:buChar char="–"/>
        <a:tabLst/>
        <a:defRPr sz="1867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2pPr>
      <a:lvl3pPr marL="457195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SzPct val="100000"/>
        <a:buFont typeface="Arial" panose="020B0604020202020204" pitchFamily="34" charset="0"/>
        <a:buChar char="•"/>
        <a:tabLst/>
        <a:defRPr sz="1867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3pPr>
      <a:lvl4pPr marL="83819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SzPct val="100000"/>
        <a:buFont typeface=".AppleSystemUIFont" charset="-120"/>
        <a:buChar char="–"/>
        <a:tabLst/>
        <a:defRPr sz="1867" baseline="0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4pPr>
      <a:lvl5pPr marL="107102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Font typeface=".AppleSystemUIFont" charset="-120"/>
        <a:buChar char="»"/>
        <a:tabLst/>
        <a:defRPr sz="1867">
          <a:solidFill>
            <a:schemeClr val="bg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5pPr>
      <a:lvl6pPr marL="2111575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6pPr>
      <a:lvl7pPr marL="2594990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7pPr>
      <a:lvl8pPr marL="3078403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8pPr>
      <a:lvl9pPr marL="3561818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412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82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24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65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706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479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89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306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0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88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4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3" y="6383869"/>
            <a:ext cx="2438309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56284066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744" r:id="rId1"/>
    <p:sldLayoutId id="2147484745" r:id="rId2"/>
    <p:sldLayoutId id="2147484746" r:id="rId3"/>
    <p:sldLayoutId id="2147484747" r:id="rId4"/>
    <p:sldLayoutId id="2147484748" r:id="rId5"/>
    <p:sldLayoutId id="2147484749" r:id="rId6"/>
    <p:sldLayoutId id="2147484750" r:id="rId7"/>
    <p:sldLayoutId id="2147484751" r:id="rId8"/>
    <p:sldLayoutId id="2147484752" r:id="rId9"/>
    <p:sldLayoutId id="2147484753" r:id="rId10"/>
    <p:sldLayoutId id="2147484754" r:id="rId11"/>
    <p:sldLayoutId id="2147484755" r:id="rId12"/>
    <p:sldLayoutId id="2147484756" r:id="rId13"/>
    <p:sldLayoutId id="2147484757" r:id="rId14"/>
    <p:sldLayoutId id="2147484758" r:id="rId15"/>
    <p:sldLayoutId id="2147484759" r:id="rId16"/>
    <p:sldLayoutId id="2147484760" r:id="rId17"/>
    <p:sldLayoutId id="2147484761" r:id="rId18"/>
    <p:sldLayoutId id="2147484762" r:id="rId19"/>
    <p:sldLayoutId id="2147484763" r:id="rId20"/>
    <p:sldLayoutId id="2147484764" r:id="rId21"/>
    <p:sldLayoutId id="2147484765" r:id="rId22"/>
    <p:sldLayoutId id="2147484766" r:id="rId23"/>
    <p:sldLayoutId id="2147484767" r:id="rId24"/>
    <p:sldLayoutId id="2147484768" r:id="rId25"/>
    <p:sldLayoutId id="2147484769" r:id="rId26"/>
    <p:sldLayoutId id="2147484770" r:id="rId27"/>
    <p:sldLayoutId id="2147484771" r:id="rId28"/>
    <p:sldLayoutId id="2147484772" r:id="rId29"/>
    <p:sldLayoutId id="2147484773" r:id="rId30"/>
    <p:sldLayoutId id="2147484774" r:id="rId31"/>
    <p:sldLayoutId id="2147484775" r:id="rId32"/>
    <p:sldLayoutId id="2147484776" r:id="rId33"/>
    <p:sldLayoutId id="2147484777" r:id="rId34"/>
  </p:sldLayoutIdLst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5pPr>
      <a:lvl6pPr marL="483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6pPr>
      <a:lvl7pPr marL="96680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7pPr>
      <a:lvl8pPr marL="145020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8pPr>
      <a:lvl9pPr marL="193360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90000"/>
        <a:buFont typeface="Wingdings" pitchFamily="2" charset="2"/>
        <a:buNone/>
        <a:defRPr sz="1867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marL="228592" indent="-231637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7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2pPr>
      <a:lvl3pPr marL="457183" indent="-231637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67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3pPr>
      <a:lvl4pPr marL="838170" indent="-231637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7" baseline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4pPr>
      <a:lvl5pPr marL="1070993" indent="-231637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Font typeface=".AppleSystemUIFont" charset="-120"/>
        <a:buChar char="»"/>
        <a:tabLst/>
        <a:defRPr sz="1867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5pPr>
      <a:lvl6pPr marL="2111522" indent="-172885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6pPr>
      <a:lvl7pPr marL="2594926" indent="-172885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7pPr>
      <a:lvl8pPr marL="3078326" indent="-172885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8pPr>
      <a:lvl9pPr marL="3561730" indent="-172885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400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804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204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605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7008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406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809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210" algn="l" defTabSz="9668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0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88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esentation Title"/>
          <p:cNvSpPr txBox="1">
            <a:spLocks noGrp="1"/>
          </p:cNvSpPr>
          <p:nvPr>
            <p:ph type="title" hasCustomPrompt="1"/>
          </p:nvPr>
        </p:nvSpPr>
        <p:spPr>
          <a:xfrm>
            <a:off x="603248" y="1287496"/>
            <a:ext cx="10985502" cy="23241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b">
            <a:normAutofit/>
          </a:bodyPr>
          <a:lstStyle/>
          <a:p>
            <a:r>
              <a:t>Presentation Title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 hasCustomPrompt="1"/>
          </p:nvPr>
        </p:nvSpPr>
        <p:spPr>
          <a:xfrm>
            <a:off x="600671" y="3611595"/>
            <a:ext cx="10985501" cy="9525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Presentation Subtitl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9063" y="6486708"/>
            <a:ext cx="227627" cy="241092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algn="ctr" defTabSz="292100">
              <a:lnSpc>
                <a:spcPct val="100000"/>
              </a:lnSpc>
              <a:defRPr sz="900"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47807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82" r:id="rId1"/>
    <p:sldLayoutId id="2147484783" r:id="rId2"/>
  </p:sldLayoutIdLst>
  <p:transition spd="med"/>
  <p:txStyles>
    <p:titleStyle>
      <a:lvl1pPr marL="0" marR="0" indent="0" algn="l" defTabSz="1219169" rtl="0" latinLnBrk="0">
        <a:lnSpc>
          <a:spcPts val="15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1pPr>
      <a:lvl2pPr marL="0" marR="0" indent="228600" algn="l" defTabSz="1219169" rtl="0" latinLnBrk="0">
        <a:lnSpc>
          <a:spcPts val="15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2pPr>
      <a:lvl3pPr marL="0" marR="0" indent="457200" algn="l" defTabSz="1219169" rtl="0" latinLnBrk="0">
        <a:lnSpc>
          <a:spcPts val="15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3pPr>
      <a:lvl4pPr marL="0" marR="0" indent="685800" algn="l" defTabSz="1219169" rtl="0" latinLnBrk="0">
        <a:lnSpc>
          <a:spcPts val="15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4pPr>
      <a:lvl5pPr marL="0" marR="0" indent="914400" algn="l" defTabSz="1219169" rtl="0" latinLnBrk="0">
        <a:lnSpc>
          <a:spcPts val="15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5pPr>
      <a:lvl6pPr marL="0" marR="0" indent="1143000" algn="l" defTabSz="1219169" rtl="0" latinLnBrk="0">
        <a:lnSpc>
          <a:spcPts val="15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6pPr>
      <a:lvl7pPr marL="0" marR="0" indent="1371600" algn="l" defTabSz="1219169" rtl="0" latinLnBrk="0">
        <a:lnSpc>
          <a:spcPts val="15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7pPr>
      <a:lvl8pPr marL="0" marR="0" indent="1600200" algn="l" defTabSz="1219169" rtl="0" latinLnBrk="0">
        <a:lnSpc>
          <a:spcPts val="15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8pPr>
      <a:lvl9pPr marL="0" marR="0" indent="1828800" algn="l" defTabSz="1219169" rtl="0" latinLnBrk="0">
        <a:lnSpc>
          <a:spcPts val="15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9pPr>
    </p:titleStyle>
    <p:bodyStyle>
      <a:lvl1pPr marL="0" marR="0" indent="0" algn="l" defTabSz="1219169" rtl="0" latinLnBrk="0">
        <a:lnSpc>
          <a:spcPts val="15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1pPr>
      <a:lvl2pPr marL="0" marR="0" indent="228600" algn="l" defTabSz="1219169" rtl="0" latinLnBrk="0">
        <a:lnSpc>
          <a:spcPts val="15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2pPr>
      <a:lvl3pPr marL="0" marR="0" indent="457200" algn="l" defTabSz="1219169" rtl="0" latinLnBrk="0">
        <a:lnSpc>
          <a:spcPts val="15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3pPr>
      <a:lvl4pPr marL="0" marR="0" indent="685800" algn="l" defTabSz="1219169" rtl="0" latinLnBrk="0">
        <a:lnSpc>
          <a:spcPts val="15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4pPr>
      <a:lvl5pPr marL="0" marR="0" indent="914400" algn="l" defTabSz="1219169" rtl="0" latinLnBrk="0">
        <a:lnSpc>
          <a:spcPts val="15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5pPr>
      <a:lvl6pPr marL="0" marR="0" indent="1143000" algn="l" defTabSz="1219169" rtl="0" latinLnBrk="0">
        <a:lnSpc>
          <a:spcPts val="15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6pPr>
      <a:lvl7pPr marL="0" marR="0" indent="1371600" algn="l" defTabSz="1219169" rtl="0" latinLnBrk="0">
        <a:lnSpc>
          <a:spcPts val="15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7pPr>
      <a:lvl8pPr marL="0" marR="0" indent="1600200" algn="l" defTabSz="1219169" rtl="0" latinLnBrk="0">
        <a:lnSpc>
          <a:spcPts val="15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8pPr>
      <a:lvl9pPr marL="0" marR="0" indent="1828800" algn="l" defTabSz="1219169" rtl="0" latinLnBrk="0">
        <a:lnSpc>
          <a:spcPts val="15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IBM Plex Sans Light"/>
        </a:defRPr>
      </a:lvl9pPr>
    </p:bodyStyle>
    <p:otherStyle>
      <a:lvl1pPr marL="0" marR="0" indent="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2286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4572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6858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9144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11430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13716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16002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182880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381000" y="381000"/>
            <a:ext cx="5524496" cy="5969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477000" y="381000"/>
            <a:ext cx="5333998" cy="596899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46924E0A-92D2-9C4D-867B-8CB23FF1185F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8274" y="6553200"/>
            <a:ext cx="471765" cy="190500"/>
          </a:xfrm>
          <a:prstGeom prst="rect">
            <a:avLst/>
          </a:prstGeom>
        </p:spPr>
      </p:pic>
      <p:sp>
        <p:nvSpPr>
          <p:cNvPr id="57" name="Slide Number Placeholder 2">
            <a:extLst>
              <a:ext uri="{FF2B5EF4-FFF2-40B4-BE49-F238E27FC236}">
                <a16:creationId xmlns:a16="http://schemas.microsoft.com/office/drawing/2014/main" id="{E3CF103D-266B-BC49-8A35-E7A29F9A7C4A}"/>
              </a:ext>
            </a:extLst>
          </p:cNvPr>
          <p:cNvSpPr txBox="1">
            <a:spLocks/>
          </p:cNvSpPr>
          <p:nvPr userDrawn="1"/>
        </p:nvSpPr>
        <p:spPr>
          <a:xfrm>
            <a:off x="381000" y="6622960"/>
            <a:ext cx="273232" cy="17702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FD999D4-B456-9943-89B7-30D56181CE18}" type="slidenum">
              <a:rPr lang="en-US" sz="667" b="0" i="0">
                <a:solidFill>
                  <a:schemeClr val="tx1"/>
                </a:solidFill>
                <a:latin typeface="IBM Plex Sans Medium" panose="020B0503050203000203" pitchFamily="34" charset="0"/>
                <a:ea typeface="IBM Plex Sans" charset="0"/>
                <a:cs typeface="IBM Plex Sans" charset="0"/>
              </a:rPr>
              <a:pPr algn="l"/>
              <a:t>‹#›</a:t>
            </a:fld>
            <a:endParaRPr lang="en-US" sz="667" b="0" i="0" dirty="0">
              <a:solidFill>
                <a:schemeClr val="tx1"/>
              </a:solidFill>
              <a:latin typeface="IBM Plex Sans Medium" panose="020B0503050203000203" pitchFamily="34" charset="0"/>
              <a:ea typeface="IBM Plex Sans" charset="0"/>
              <a:cs typeface="IBM Plex Sans" charset="0"/>
            </a:endParaRP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ACC00A88-4A19-6C48-922B-415CF82AD08C}"/>
              </a:ext>
            </a:extLst>
          </p:cNvPr>
          <p:cNvGrpSpPr/>
          <p:nvPr userDrawn="1"/>
        </p:nvGrpSpPr>
        <p:grpSpPr>
          <a:xfrm>
            <a:off x="-205742" y="-190499"/>
            <a:ext cx="12588243" cy="7209772"/>
            <a:chOff x="-109730" y="-110489"/>
            <a:chExt cx="9352896" cy="5351811"/>
          </a:xfrm>
        </p:grpSpPr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6C2A0210-CFBC-394D-A938-778FB6421104}"/>
                </a:ext>
              </a:extLst>
            </p:cNvPr>
            <p:cNvGrpSpPr/>
            <p:nvPr userDrawn="1"/>
          </p:nvGrpSpPr>
          <p:grpSpPr>
            <a:xfrm>
              <a:off x="326211" y="-110489"/>
              <a:ext cx="8492338" cy="119718"/>
              <a:chOff x="326211" y="-152399"/>
              <a:chExt cx="8492338" cy="199534"/>
            </a:xfrm>
          </p:grpSpPr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F8965F14-1CB6-5843-9F9F-6B676184ADE3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50011" y="-2906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6B8A782A-B233-0E4E-B3CD-5EE3BF97C657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090018" y="-76199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A1DC1833-C465-4545-8572-CA2BF3C440A8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31557" y="-76199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984DB13C-715F-4C41-A086-F8B04B8338B4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373096" y="-76199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E4E47650-7CC3-E04C-92FB-D684F2CD6CE1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354641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48E322F4-6558-1941-9668-7BA9BD1DD8BE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6180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5B67F614-8FE1-D140-884E-B58A72DE0C55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637719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4D35566C-B1A5-EA4C-B259-8C8C4D4DAC4A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619265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09214A7D-67C2-8944-92DC-99D0E47D2D3B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60804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A1CDACE7-EB75-4C46-81A7-AA51D8058C5F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902342" y="-40055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0DE10E2C-13E0-E045-979D-18B430462117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742349" y="-29065"/>
                <a:ext cx="152399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FD80F033-645B-5D4F-A361-EA80F684A392}"/>
                </a:ext>
              </a:extLst>
            </p:cNvPr>
            <p:cNvGrpSpPr/>
            <p:nvPr userDrawn="1"/>
          </p:nvGrpSpPr>
          <p:grpSpPr>
            <a:xfrm>
              <a:off x="326211" y="5143289"/>
              <a:ext cx="8492338" cy="98033"/>
              <a:chOff x="326211" y="5111418"/>
              <a:chExt cx="8492338" cy="163389"/>
            </a:xfrm>
          </p:grpSpPr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D7AF79B6-9A4C-6646-9D0E-0EFBC879BCA2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50011" y="5187632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13A48562-9ED8-2447-B180-45BC3A773135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090017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213B6266-0A93-084E-8A78-AE6C03C5F943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31556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69131E21-73CB-E242-BBDC-0E18035BD6F1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373095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7470289F-4240-FF43-A440-B8043B23295A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354641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3181E438-CE1F-204B-B678-19B8BDBDEF04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6180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A495CFAF-959F-8D42-94E4-963B9477BB9A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637719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597E11FF-33D2-8044-894E-13FB34529786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619264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23BD1786-FF52-F647-921E-9287706FFD79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60803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E256C9B2-A5FE-BC4E-920F-CEBABA73B93B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902342" y="5198607"/>
                <a:ext cx="15240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E1A1A939-9E62-2E4C-9714-2F6929182E36}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742348" y="5187619"/>
                <a:ext cx="152402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65151D40-4251-CA4F-9CEA-04AAC5EF6968}"/>
                </a:ext>
              </a:extLst>
            </p:cNvPr>
            <p:cNvGrpSpPr/>
            <p:nvPr userDrawn="1"/>
          </p:nvGrpSpPr>
          <p:grpSpPr>
            <a:xfrm>
              <a:off x="-109730" y="313734"/>
              <a:ext cx="124556" cy="4430783"/>
              <a:chOff x="-109730" y="313734"/>
              <a:chExt cx="124556" cy="4430783"/>
            </a:xfrm>
          </p:grpSpPr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DD3AB832-ECA3-1C40-9D87-D3BF3E76579E}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303590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DEA137B8-70C8-E047-92CB-43CBD0F96DD8}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6262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8F9E5AD6-4E33-6C4E-BCF9-D40AC0EA8DB2}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DEBF4B0D-888C-E341-8D2C-A2B62D3927F7}"/>
                  </a:ext>
                </a:extLst>
              </p:cNvPr>
              <p:cNvCxnSpPr/>
              <p:nvPr userDrawn="1"/>
            </p:nvCxnSpPr>
            <p:spPr bwMode="auto">
              <a:xfrm flipH="1">
                <a:off x="-98406" y="313734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4A1525CA-DB42-1F46-952B-49632CFC59C5}"/>
                  </a:ext>
                </a:extLst>
              </p:cNvPr>
              <p:cNvCxnSpPr/>
              <p:nvPr userDrawn="1"/>
            </p:nvCxnSpPr>
            <p:spPr bwMode="auto">
              <a:xfrm flipH="1">
                <a:off x="-76614" y="4744517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A6884295-F7A1-534D-ABFD-819D33AD6D11}"/>
                </a:ext>
              </a:extLst>
            </p:cNvPr>
            <p:cNvGrpSpPr/>
            <p:nvPr userDrawn="1"/>
          </p:nvGrpSpPr>
          <p:grpSpPr>
            <a:xfrm>
              <a:off x="9123418" y="313734"/>
              <a:ext cx="119748" cy="4428901"/>
              <a:chOff x="-149362" y="307384"/>
              <a:chExt cx="119748" cy="4428901"/>
            </a:xfrm>
          </p:grpSpPr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2C290D71-5B73-D042-BDA2-E632B7E0FFA5}"/>
                  </a:ext>
                </a:extLst>
              </p:cNvPr>
              <p:cNvCxnSpPr/>
              <p:nvPr userDrawn="1"/>
            </p:nvCxnSpPr>
            <p:spPr bwMode="auto">
              <a:xfrm flipH="1">
                <a:off x="-142845" y="1297240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5646BE28-7152-2040-A2AF-B34178C299A1}"/>
                  </a:ext>
                </a:extLst>
              </p:cNvPr>
              <p:cNvCxnSpPr/>
              <p:nvPr userDrawn="1"/>
            </p:nvCxnSpPr>
            <p:spPr bwMode="auto">
              <a:xfrm flipH="1">
                <a:off x="-142845" y="2569913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4296DD67-0C6C-0549-B851-03883C54615F}"/>
                  </a:ext>
                </a:extLst>
              </p:cNvPr>
              <p:cNvCxnSpPr/>
              <p:nvPr userDrawn="1"/>
            </p:nvCxnSpPr>
            <p:spPr bwMode="auto">
              <a:xfrm flipH="1">
                <a:off x="-142845" y="3843274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0ACE78AA-7905-5246-83D4-D5D84E497E8A}"/>
                  </a:ext>
                </a:extLst>
              </p:cNvPr>
              <p:cNvCxnSpPr/>
              <p:nvPr userDrawn="1"/>
            </p:nvCxnSpPr>
            <p:spPr bwMode="auto">
              <a:xfrm flipH="1">
                <a:off x="-149362" y="307384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30562EE8-1F7C-6E45-9B05-5B7385E02341}"/>
                  </a:ext>
                </a:extLst>
              </p:cNvPr>
              <p:cNvCxnSpPr/>
              <p:nvPr userDrawn="1"/>
            </p:nvCxnSpPr>
            <p:spPr bwMode="auto">
              <a:xfrm flipH="1">
                <a:off x="-121054" y="4736285"/>
                <a:ext cx="91440" cy="0"/>
              </a:xfrm>
              <a:prstGeom prst="line">
                <a:avLst/>
              </a:prstGeom>
              <a:ln>
                <a:solidFill>
                  <a:srgbClr val="82CFF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60513738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786" r:id="rId1"/>
    <p:sldLayoutId id="2147484787" r:id="rId2"/>
    <p:sldLayoutId id="2147484788" r:id="rId3"/>
    <p:sldLayoutId id="2147484789" r:id="rId4"/>
    <p:sldLayoutId id="2147484790" r:id="rId5"/>
    <p:sldLayoutId id="2147484791" r:id="rId6"/>
    <p:sldLayoutId id="2147484792" r:id="rId7"/>
    <p:sldLayoutId id="2147484793" r:id="rId8"/>
    <p:sldLayoutId id="2147484794" r:id="rId9"/>
    <p:sldLayoutId id="2147484795" r:id="rId10"/>
    <p:sldLayoutId id="2147484796" r:id="rId11"/>
    <p:sldLayoutId id="2147484797" r:id="rId12"/>
    <p:sldLayoutId id="2147484798" r:id="rId13"/>
    <p:sldLayoutId id="2147484799" r:id="rId14"/>
    <p:sldLayoutId id="2147484800" r:id="rId15"/>
    <p:sldLayoutId id="2147484801" r:id="rId16"/>
    <p:sldLayoutId id="2147484802" r:id="rId17"/>
    <p:sldLayoutId id="2147484803" r:id="rId18"/>
    <p:sldLayoutId id="2147484804" r:id="rId19"/>
    <p:sldLayoutId id="2147484805" r:id="rId20"/>
    <p:sldLayoutId id="2147484806" r:id="rId21"/>
    <p:sldLayoutId id="2147484807" r:id="rId22"/>
    <p:sldLayoutId id="2147484808" r:id="rId23"/>
    <p:sldLayoutId id="2147484809" r:id="rId24"/>
    <p:sldLayoutId id="2147484810" r:id="rId25"/>
    <p:sldLayoutId id="2147484811" r:id="rId26"/>
    <p:sldLayoutId id="2147484812" r:id="rId27"/>
    <p:sldLayoutId id="2147484813" r:id="rId28"/>
    <p:sldLayoutId id="2147484815" r:id="rId29"/>
    <p:sldLayoutId id="2147484816" r:id="rId30"/>
    <p:sldLayoutId id="2147484817" r:id="rId31"/>
    <p:sldLayoutId id="2147484818" r:id="rId32"/>
    <p:sldLayoutId id="2147484820" r:id="rId33"/>
    <p:sldLayoutId id="2147484821" r:id="rId3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5pPr>
      <a:lvl6pPr marL="48340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6pPr>
      <a:lvl7pPr marL="96681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7pPr>
      <a:lvl8pPr marL="145021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8pPr>
      <a:lvl9pPr marL="193362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ts val="1500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5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152394" indent="-152394" algn="l" rtl="0" eaLnBrk="1" fontAlgn="base" hangingPunct="1">
        <a:lnSpc>
          <a:spcPct val="110000"/>
        </a:lnSpc>
        <a:spcBef>
          <a:spcPts val="10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5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304788" indent="-152394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5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457182" indent="-152394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500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609576" indent="-152394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5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2111544" indent="-17288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6pPr>
      <a:lvl7pPr marL="2594951" indent="-17288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7pPr>
      <a:lvl8pPr marL="3078357" indent="-17288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8pPr>
      <a:lvl9pPr marL="3561764" indent="-17288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966813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405" algn="l" defTabSz="966813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813" algn="l" defTabSz="966813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218" algn="l" defTabSz="966813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624" algn="l" defTabSz="966813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7032" algn="l" defTabSz="966813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436" algn="l" defTabSz="966813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842" algn="l" defTabSz="966813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248" algn="l" defTabSz="966813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8">
          <p15:clr>
            <a:srgbClr val="F26B43"/>
          </p15:clr>
        </p15:guide>
        <p15:guide id="2" pos="288">
          <p15:clr>
            <a:srgbClr val="F26B43"/>
          </p15:clr>
        </p15:guide>
        <p15:guide id="3" pos="8928">
          <p15:clr>
            <a:srgbClr val="F26B43"/>
          </p15:clr>
        </p15:guide>
        <p15:guide id="4" orient="horz" pos="4800">
          <p15:clr>
            <a:srgbClr val="F26B43"/>
          </p15:clr>
        </p15:guide>
        <p15:guide id="5" orient="horz" pos="5088">
          <p15:clr>
            <a:srgbClr val="F26B43"/>
          </p15:clr>
        </p15:guide>
        <p15:guide id="6" pos="4608">
          <p15:clr>
            <a:srgbClr val="547EBF"/>
          </p15:clr>
        </p15:guide>
        <p15:guide id="7" pos="4464">
          <p15:clr>
            <a:srgbClr val="F26B43"/>
          </p15:clr>
        </p15:guide>
        <p15:guide id="8" pos="2304">
          <p15:clr>
            <a:srgbClr val="547EBF"/>
          </p15:clr>
        </p15:guide>
        <p15:guide id="9" pos="4752">
          <p15:clr>
            <a:srgbClr val="F26B43"/>
          </p15:clr>
        </p15:guide>
        <p15:guide id="10" pos="2160">
          <p15:clr>
            <a:srgbClr val="F26B43"/>
          </p15:clr>
        </p15:guide>
        <p15:guide id="11" pos="2448">
          <p15:clr>
            <a:srgbClr val="F26B43"/>
          </p15:clr>
        </p15:guide>
        <p15:guide id="12" pos="6912">
          <p15:clr>
            <a:srgbClr val="547EBF"/>
          </p15:clr>
        </p15:guide>
        <p15:guide id="13" pos="6768">
          <p15:clr>
            <a:srgbClr val="F26B43"/>
          </p15:clr>
        </p15:guide>
        <p15:guide id="14" pos="7056">
          <p15:clr>
            <a:srgbClr val="F26B43"/>
          </p15:clr>
        </p15:guide>
        <p15:guide id="17" orient="horz" pos="1296">
          <p15:clr>
            <a:srgbClr val="547EBF"/>
          </p15:clr>
        </p15:guide>
        <p15:guide id="18" orient="horz" pos="2592">
          <p15:clr>
            <a:srgbClr val="547EBF"/>
          </p15:clr>
        </p15:guide>
        <p15:guide id="21" orient="horz" pos="3888">
          <p15:clr>
            <a:srgbClr val="547EBF"/>
          </p15:clr>
        </p15:guide>
        <p15:guide id="22" pos="4896">
          <p15:clr>
            <a:srgbClr val="FDE53C"/>
          </p15:clr>
        </p15:guide>
        <p15:guide id="23" pos="4320">
          <p15:clr>
            <a:srgbClr val="FDE53C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4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89" y="6383868"/>
            <a:ext cx="5486313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 dirty="0"/>
              <a:t>IBM TRIRIGA / © 2021 IBM Corporation</a:t>
            </a: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2" y="6383868"/>
            <a:ext cx="2438309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58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55624108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824" r:id="rId1"/>
    <p:sldLayoutId id="2147484825" r:id="rId2"/>
    <p:sldLayoutId id="2147484826" r:id="rId3"/>
    <p:sldLayoutId id="2147484827" r:id="rId4"/>
    <p:sldLayoutId id="2147484828" r:id="rId5"/>
    <p:sldLayoutId id="2147484829" r:id="rId6"/>
    <p:sldLayoutId id="2147484830" r:id="rId7"/>
    <p:sldLayoutId id="2147484831" r:id="rId8"/>
    <p:sldLayoutId id="2147484832" r:id="rId9"/>
    <p:sldLayoutId id="2147484833" r:id="rId10"/>
    <p:sldLayoutId id="2147484834" r:id="rId11"/>
    <p:sldLayoutId id="2147484835" r:id="rId12"/>
    <p:sldLayoutId id="2147484836" r:id="rId13"/>
    <p:sldLayoutId id="2147484837" r:id="rId14"/>
    <p:sldLayoutId id="2147484838" r:id="rId15"/>
    <p:sldLayoutId id="2147484839" r:id="rId16"/>
    <p:sldLayoutId id="2147484840" r:id="rId17"/>
    <p:sldLayoutId id="2147484841" r:id="rId18"/>
    <p:sldLayoutId id="2147484842" r:id="rId19"/>
    <p:sldLayoutId id="2147484843" r:id="rId20"/>
    <p:sldLayoutId id="2147484844" r:id="rId21"/>
    <p:sldLayoutId id="2147484845" r:id="rId22"/>
    <p:sldLayoutId id="2147484846" r:id="rId23"/>
    <p:sldLayoutId id="2147484847" r:id="rId24"/>
    <p:sldLayoutId id="2147484848" r:id="rId25"/>
    <p:sldLayoutId id="2147484849" r:id="rId26"/>
    <p:sldLayoutId id="2147484850" r:id="rId27"/>
    <p:sldLayoutId id="2147484851" r:id="rId28"/>
    <p:sldLayoutId id="2147484852" r:id="rId29"/>
    <p:sldLayoutId id="2147484853" r:id="rId30"/>
    <p:sldLayoutId id="2147484854" r:id="rId31"/>
    <p:sldLayoutId id="2147484855" r:id="rId32"/>
    <p:sldLayoutId id="2147484856" r:id="rId33"/>
    <p:sldLayoutId id="2147484857" r:id="rId34"/>
    <p:sldLayoutId id="2147484858" r:id="rId35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5pPr>
      <a:lvl6pPr marL="48341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6pPr>
      <a:lvl7pPr marL="96682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7pPr>
      <a:lvl8pPr marL="145024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8pPr>
      <a:lvl9pPr marL="193365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90000"/>
        <a:buFont typeface="Wingdings" pitchFamily="2" charset="2"/>
        <a:buNone/>
        <a:defRPr sz="1867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marL="228597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7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2pPr>
      <a:lvl3pPr marL="457195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67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3pPr>
      <a:lvl4pPr marL="83819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7" baseline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4pPr>
      <a:lvl5pPr marL="107102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Font typeface=".AppleSystemUIFont" charset="-120"/>
        <a:buChar char="»"/>
        <a:tabLst/>
        <a:defRPr sz="1867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5pPr>
      <a:lvl6pPr marL="2111575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6pPr>
      <a:lvl7pPr marL="2594990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7pPr>
      <a:lvl8pPr marL="3078403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8pPr>
      <a:lvl9pPr marL="3561818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412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82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24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65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706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479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89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306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0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88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2.xml"/><Relationship Id="rId4" Type="http://schemas.openxmlformats.org/officeDocument/2006/relationships/image" Target="../media/image34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2.xml"/><Relationship Id="rId4" Type="http://schemas.openxmlformats.org/officeDocument/2006/relationships/image" Target="../media/image34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2.xml"/><Relationship Id="rId4" Type="http://schemas.openxmlformats.org/officeDocument/2006/relationships/image" Target="../media/image34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2.xml"/><Relationship Id="rId4" Type="http://schemas.openxmlformats.org/officeDocument/2006/relationships/image" Target="../media/image3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2.xml"/><Relationship Id="rId4" Type="http://schemas.openxmlformats.org/officeDocument/2006/relationships/image" Target="../media/image3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9600" dirty="0">
                <a:latin typeface="IBM Plex Sans Light"/>
              </a:rPr>
              <a:t>Turn sustainability ambition into ac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395FB3-9C97-154F-86B2-7E381B951268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  <a:ea typeface="+mn-ea"/>
                <a:cs typeface="+mn-cs"/>
              </a:rPr>
              <a:pPr marL="0" marR="0" lvl="0" indent="0" algn="r" defTabSz="914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" panose="020B0503050203000203" pitchFamily="34" charset="0"/>
              <a:ea typeface="+mn-ea"/>
              <a:cs typeface="+mn-cs"/>
            </a:endParaRP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C55E0C6-9DB0-3A9E-4E53-74F36132C8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4889" y="6400801"/>
            <a:ext cx="5486313" cy="222250"/>
          </a:xfr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IBM Sustainability Software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31947664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itle 1">
            <a:extLst>
              <a:ext uri="{FF2B5EF4-FFF2-40B4-BE49-F238E27FC236}">
                <a16:creationId xmlns:a16="http://schemas.microsoft.com/office/drawing/2014/main" id="{6C400362-DE3E-9EAB-3918-A4A10B0A32F0}"/>
              </a:ext>
            </a:extLst>
          </p:cNvPr>
          <p:cNvSpPr txBox="1">
            <a:spLocks/>
          </p:cNvSpPr>
          <p:nvPr/>
        </p:nvSpPr>
        <p:spPr>
          <a:xfrm>
            <a:off x="280422" y="268227"/>
            <a:ext cx="3137695" cy="442976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5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2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68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defTabSz="91462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rgbClr val="000000"/>
                </a:solidFill>
                <a:latin typeface="IBM Plex Sans Light"/>
                <a:sym typeface="IBM Plex Sans Light"/>
              </a:rPr>
              <a:t>Turn sustainability ambition into action</a:t>
            </a:r>
            <a:endParaRPr lang="en-US" sz="2133" kern="0" dirty="0">
              <a:solidFill>
                <a:srgbClr val="000000"/>
              </a:solidFill>
              <a:sym typeface="IBM Plex Sans Light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5E6C207-B970-2C48-9E2C-982E3DEDB214}"/>
              </a:ext>
            </a:extLst>
          </p:cNvPr>
          <p:cNvCxnSpPr>
            <a:cxnSpLocks/>
          </p:cNvCxnSpPr>
          <p:nvPr/>
        </p:nvCxnSpPr>
        <p:spPr bwMode="auto">
          <a:xfrm>
            <a:off x="9174845" y="3570673"/>
            <a:ext cx="0" cy="210312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51" name="Graphic 69">
            <a:extLst>
              <a:ext uri="{FF2B5EF4-FFF2-40B4-BE49-F238E27FC236}">
                <a16:creationId xmlns:a16="http://schemas.microsoft.com/office/drawing/2014/main" id="{C1103746-D918-C646-A3F9-067418A3BFAD}"/>
              </a:ext>
            </a:extLst>
          </p:cNvPr>
          <p:cNvSpPr>
            <a:spLocks noChangeAspect="1"/>
          </p:cNvSpPr>
          <p:nvPr/>
        </p:nvSpPr>
        <p:spPr>
          <a:xfrm>
            <a:off x="9477217" y="3627225"/>
            <a:ext cx="750307" cy="543016"/>
          </a:xfrm>
          <a:custGeom>
            <a:avLst/>
            <a:gdLst>
              <a:gd name="connsiteX0" fmla="*/ 5277828 w 6393180"/>
              <a:gd name="connsiteY0" fmla="*/ 5144630 h 5144770"/>
              <a:gd name="connsiteX1" fmla="*/ 4582668 w 6393180"/>
              <a:gd name="connsiteY1" fmla="*/ 4520388 h 5144770"/>
              <a:gd name="connsiteX2" fmla="*/ 2019465 w 6393180"/>
              <a:gd name="connsiteY2" fmla="*/ 4520388 h 5144770"/>
              <a:gd name="connsiteX3" fmla="*/ 1324305 w 6393180"/>
              <a:gd name="connsiteY3" fmla="*/ 5144630 h 5144770"/>
              <a:gd name="connsiteX4" fmla="*/ 629145 w 6393180"/>
              <a:gd name="connsiteY4" fmla="*/ 4520388 h 5144770"/>
              <a:gd name="connsiteX5" fmla="*/ 491985 w 6393180"/>
              <a:gd name="connsiteY5" fmla="*/ 4520388 h 5144770"/>
              <a:gd name="connsiteX6" fmla="*/ 953 w 6393180"/>
              <a:gd name="connsiteY6" fmla="*/ 4029354 h 5144770"/>
              <a:gd name="connsiteX7" fmla="*/ 953 w 6393180"/>
              <a:gd name="connsiteY7" fmla="*/ 2572791 h 5144770"/>
              <a:gd name="connsiteX8" fmla="*/ 11621 w 6393180"/>
              <a:gd name="connsiteY8" fmla="*/ 2534285 h 5144770"/>
              <a:gd name="connsiteX9" fmla="*/ 851967 w 6393180"/>
              <a:gd name="connsiteY9" fmla="*/ 1078738 h 5144770"/>
              <a:gd name="connsiteX10" fmla="*/ 916788 w 6393180"/>
              <a:gd name="connsiteY10" fmla="*/ 1041349 h 5144770"/>
              <a:gd name="connsiteX11" fmla="*/ 2497912 w 6393180"/>
              <a:gd name="connsiteY11" fmla="*/ 1041349 h 5144770"/>
              <a:gd name="connsiteX12" fmla="*/ 2497912 w 6393180"/>
              <a:gd name="connsiteY12" fmla="*/ 75832 h 5144770"/>
              <a:gd name="connsiteX13" fmla="*/ 2572791 w 6393180"/>
              <a:gd name="connsiteY13" fmla="*/ 953 h 5144770"/>
              <a:gd name="connsiteX14" fmla="*/ 6318238 w 6393180"/>
              <a:gd name="connsiteY14" fmla="*/ 953 h 5144770"/>
              <a:gd name="connsiteX15" fmla="*/ 6393117 w 6393180"/>
              <a:gd name="connsiteY15" fmla="*/ 75832 h 5144770"/>
              <a:gd name="connsiteX16" fmla="*/ 6393117 w 6393180"/>
              <a:gd name="connsiteY16" fmla="*/ 4445508 h 5144770"/>
              <a:gd name="connsiteX17" fmla="*/ 6318238 w 6393180"/>
              <a:gd name="connsiteY17" fmla="*/ 4520388 h 5144770"/>
              <a:gd name="connsiteX18" fmla="*/ 5973001 w 6393180"/>
              <a:gd name="connsiteY18" fmla="*/ 4520388 h 5144770"/>
              <a:gd name="connsiteX19" fmla="*/ 5277828 w 6393180"/>
              <a:gd name="connsiteY19" fmla="*/ 5144630 h 5144770"/>
              <a:gd name="connsiteX20" fmla="*/ 5277828 w 6393180"/>
              <a:gd name="connsiteY20" fmla="*/ 3896157 h 5144770"/>
              <a:gd name="connsiteX21" fmla="*/ 4728464 w 6393180"/>
              <a:gd name="connsiteY21" fmla="*/ 4445521 h 5144770"/>
              <a:gd name="connsiteX22" fmla="*/ 5277828 w 6393180"/>
              <a:gd name="connsiteY22" fmla="*/ 4994885 h 5144770"/>
              <a:gd name="connsiteX23" fmla="*/ 5827192 w 6393180"/>
              <a:gd name="connsiteY23" fmla="*/ 4445521 h 5144770"/>
              <a:gd name="connsiteX24" fmla="*/ 5277828 w 6393180"/>
              <a:gd name="connsiteY24" fmla="*/ 3896157 h 5144770"/>
              <a:gd name="connsiteX25" fmla="*/ 1324318 w 6393180"/>
              <a:gd name="connsiteY25" fmla="*/ 3896157 h 5144770"/>
              <a:gd name="connsiteX26" fmla="*/ 774954 w 6393180"/>
              <a:gd name="connsiteY26" fmla="*/ 4445521 h 5144770"/>
              <a:gd name="connsiteX27" fmla="*/ 1324318 w 6393180"/>
              <a:gd name="connsiteY27" fmla="*/ 4994885 h 5144770"/>
              <a:gd name="connsiteX28" fmla="*/ 1873682 w 6393180"/>
              <a:gd name="connsiteY28" fmla="*/ 4445521 h 5144770"/>
              <a:gd name="connsiteX29" fmla="*/ 1324318 w 6393180"/>
              <a:gd name="connsiteY29" fmla="*/ 3896157 h 5144770"/>
              <a:gd name="connsiteX30" fmla="*/ 5972988 w 6393180"/>
              <a:gd name="connsiteY30" fmla="*/ 4370629 h 5144770"/>
              <a:gd name="connsiteX31" fmla="*/ 6243346 w 6393180"/>
              <a:gd name="connsiteY31" fmla="*/ 4370629 h 5144770"/>
              <a:gd name="connsiteX32" fmla="*/ 6243346 w 6393180"/>
              <a:gd name="connsiteY32" fmla="*/ 150711 h 5144770"/>
              <a:gd name="connsiteX33" fmla="*/ 2647671 w 6393180"/>
              <a:gd name="connsiteY33" fmla="*/ 150711 h 5144770"/>
              <a:gd name="connsiteX34" fmla="*/ 2647671 w 6393180"/>
              <a:gd name="connsiteY34" fmla="*/ 4370629 h 5144770"/>
              <a:gd name="connsiteX35" fmla="*/ 4582668 w 6393180"/>
              <a:gd name="connsiteY35" fmla="*/ 4370629 h 5144770"/>
              <a:gd name="connsiteX36" fmla="*/ 5277828 w 6393180"/>
              <a:gd name="connsiteY36" fmla="*/ 3746386 h 5144770"/>
              <a:gd name="connsiteX37" fmla="*/ 5972988 w 6393180"/>
              <a:gd name="connsiteY37" fmla="*/ 4370629 h 5144770"/>
              <a:gd name="connsiteX38" fmla="*/ 2019465 w 6393180"/>
              <a:gd name="connsiteY38" fmla="*/ 4370629 h 5144770"/>
              <a:gd name="connsiteX39" fmla="*/ 2497912 w 6393180"/>
              <a:gd name="connsiteY39" fmla="*/ 4370629 h 5144770"/>
              <a:gd name="connsiteX40" fmla="*/ 2497912 w 6393180"/>
              <a:gd name="connsiteY40" fmla="*/ 2647671 h 5144770"/>
              <a:gd name="connsiteX41" fmla="*/ 150711 w 6393180"/>
              <a:gd name="connsiteY41" fmla="*/ 2647671 h 5144770"/>
              <a:gd name="connsiteX42" fmla="*/ 150711 w 6393180"/>
              <a:gd name="connsiteY42" fmla="*/ 4029354 h 5144770"/>
              <a:gd name="connsiteX43" fmla="*/ 491985 w 6393180"/>
              <a:gd name="connsiteY43" fmla="*/ 4370629 h 5144770"/>
              <a:gd name="connsiteX44" fmla="*/ 629145 w 6393180"/>
              <a:gd name="connsiteY44" fmla="*/ 4370629 h 5144770"/>
              <a:gd name="connsiteX45" fmla="*/ 1324305 w 6393180"/>
              <a:gd name="connsiteY45" fmla="*/ 3746386 h 5144770"/>
              <a:gd name="connsiteX46" fmla="*/ 2019465 w 6393180"/>
              <a:gd name="connsiteY46" fmla="*/ 4370629 h 5144770"/>
              <a:gd name="connsiteX47" fmla="*/ 2023428 w 6393180"/>
              <a:gd name="connsiteY47" fmla="*/ 2497912 h 5144770"/>
              <a:gd name="connsiteX48" fmla="*/ 2497912 w 6393180"/>
              <a:gd name="connsiteY48" fmla="*/ 2497912 h 5144770"/>
              <a:gd name="connsiteX49" fmla="*/ 2497912 w 6393180"/>
              <a:gd name="connsiteY49" fmla="*/ 1191108 h 5144770"/>
              <a:gd name="connsiteX50" fmla="*/ 2023428 w 6393180"/>
              <a:gd name="connsiteY50" fmla="*/ 1191108 h 5144770"/>
              <a:gd name="connsiteX51" fmla="*/ 2023428 w 6393180"/>
              <a:gd name="connsiteY51" fmla="*/ 2497912 h 5144770"/>
              <a:gd name="connsiteX52" fmla="*/ 205575 w 6393180"/>
              <a:gd name="connsiteY52" fmla="*/ 2497912 h 5144770"/>
              <a:gd name="connsiteX53" fmla="*/ 1873669 w 6393180"/>
              <a:gd name="connsiteY53" fmla="*/ 2497912 h 5144770"/>
              <a:gd name="connsiteX54" fmla="*/ 1873669 w 6393180"/>
              <a:gd name="connsiteY54" fmla="*/ 1191108 h 5144770"/>
              <a:gd name="connsiteX55" fmla="*/ 960069 w 6393180"/>
              <a:gd name="connsiteY55" fmla="*/ 1191108 h 5144770"/>
              <a:gd name="connsiteX56" fmla="*/ 205575 w 6393180"/>
              <a:gd name="connsiteY56" fmla="*/ 2497912 h 5144770"/>
              <a:gd name="connsiteX57" fmla="*/ 2156638 w 6393180"/>
              <a:gd name="connsiteY57" fmla="*/ 3063837 h 5144770"/>
              <a:gd name="connsiteX58" fmla="*/ 1740472 w 6393180"/>
              <a:gd name="connsiteY58" fmla="*/ 3063837 h 5144770"/>
              <a:gd name="connsiteX59" fmla="*/ 1740472 w 6393180"/>
              <a:gd name="connsiteY59" fmla="*/ 2914079 h 5144770"/>
              <a:gd name="connsiteX60" fmla="*/ 2156638 w 6393180"/>
              <a:gd name="connsiteY60" fmla="*/ 2914079 h 5144770"/>
              <a:gd name="connsiteX61" fmla="*/ 2156638 w 6393180"/>
              <a:gd name="connsiteY61" fmla="*/ 3063837 h 5144770"/>
              <a:gd name="connsiteX62" fmla="*/ 5902071 w 6393180"/>
              <a:gd name="connsiteY62" fmla="*/ 2647671 h 5144770"/>
              <a:gd name="connsiteX63" fmla="*/ 4237432 w 6393180"/>
              <a:gd name="connsiteY63" fmla="*/ 2647671 h 5144770"/>
              <a:gd name="connsiteX64" fmla="*/ 4237432 w 6393180"/>
              <a:gd name="connsiteY64" fmla="*/ 2497912 h 5144770"/>
              <a:gd name="connsiteX65" fmla="*/ 5902071 w 6393180"/>
              <a:gd name="connsiteY65" fmla="*/ 2497912 h 5144770"/>
              <a:gd name="connsiteX66" fmla="*/ 5902071 w 6393180"/>
              <a:gd name="connsiteY66" fmla="*/ 2647671 h 5144770"/>
              <a:gd name="connsiteX67" fmla="*/ 5902071 w 6393180"/>
              <a:gd name="connsiteY67" fmla="*/ 2023428 h 5144770"/>
              <a:gd name="connsiteX68" fmla="*/ 3821278 w 6393180"/>
              <a:gd name="connsiteY68" fmla="*/ 2023428 h 5144770"/>
              <a:gd name="connsiteX69" fmla="*/ 3821278 w 6393180"/>
              <a:gd name="connsiteY69" fmla="*/ 1873669 h 5144770"/>
              <a:gd name="connsiteX70" fmla="*/ 5902084 w 6393180"/>
              <a:gd name="connsiteY70" fmla="*/ 1873669 h 5144770"/>
              <a:gd name="connsiteX71" fmla="*/ 5902084 w 6393180"/>
              <a:gd name="connsiteY71" fmla="*/ 2023428 h 5144770"/>
              <a:gd name="connsiteX72" fmla="*/ 5902071 w 6393180"/>
              <a:gd name="connsiteY72" fmla="*/ 1399197 h 5144770"/>
              <a:gd name="connsiteX73" fmla="*/ 3405111 w 6393180"/>
              <a:gd name="connsiteY73" fmla="*/ 1399197 h 5144770"/>
              <a:gd name="connsiteX74" fmla="*/ 3405111 w 6393180"/>
              <a:gd name="connsiteY74" fmla="*/ 1249439 h 5144770"/>
              <a:gd name="connsiteX75" fmla="*/ 5902071 w 6393180"/>
              <a:gd name="connsiteY75" fmla="*/ 1249439 h 5144770"/>
              <a:gd name="connsiteX76" fmla="*/ 5902071 w 6393180"/>
              <a:gd name="connsiteY76" fmla="*/ 1399197 h 5144770"/>
              <a:gd name="connsiteX77" fmla="*/ 5902071 w 6393180"/>
              <a:gd name="connsiteY77" fmla="*/ 774954 h 5144770"/>
              <a:gd name="connsiteX78" fmla="*/ 2988945 w 6393180"/>
              <a:gd name="connsiteY78" fmla="*/ 774954 h 5144770"/>
              <a:gd name="connsiteX79" fmla="*/ 2988945 w 6393180"/>
              <a:gd name="connsiteY79" fmla="*/ 625196 h 5144770"/>
              <a:gd name="connsiteX80" fmla="*/ 5902071 w 6393180"/>
              <a:gd name="connsiteY80" fmla="*/ 625196 h 5144770"/>
              <a:gd name="connsiteX81" fmla="*/ 5902071 w 6393180"/>
              <a:gd name="connsiteY81" fmla="*/ 774954 h 5144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</a:cxnLst>
            <a:rect l="l" t="t" r="r" b="b"/>
            <a:pathLst>
              <a:path w="6393180" h="5144770">
                <a:moveTo>
                  <a:pt x="5277828" y="5144630"/>
                </a:moveTo>
                <a:cubicBezTo>
                  <a:pt x="4917656" y="5144630"/>
                  <a:pt x="4620159" y="4870819"/>
                  <a:pt x="4582668" y="4520388"/>
                </a:cubicBezTo>
                <a:lnTo>
                  <a:pt x="2019465" y="4520388"/>
                </a:lnTo>
                <a:cubicBezTo>
                  <a:pt x="1981975" y="4870806"/>
                  <a:pt x="1684490" y="5144630"/>
                  <a:pt x="1324305" y="5144630"/>
                </a:cubicBezTo>
                <a:cubicBezTo>
                  <a:pt x="964121" y="5144630"/>
                  <a:pt x="666636" y="4870819"/>
                  <a:pt x="629145" y="4520388"/>
                </a:cubicBezTo>
                <a:lnTo>
                  <a:pt x="491985" y="4520388"/>
                </a:lnTo>
                <a:cubicBezTo>
                  <a:pt x="221221" y="4520400"/>
                  <a:pt x="953" y="4300119"/>
                  <a:pt x="953" y="4029354"/>
                </a:cubicBezTo>
                <a:lnTo>
                  <a:pt x="953" y="2572791"/>
                </a:lnTo>
                <a:cubicBezTo>
                  <a:pt x="953" y="2558669"/>
                  <a:pt x="4813" y="2545461"/>
                  <a:pt x="11621" y="2534285"/>
                </a:cubicBezTo>
                <a:lnTo>
                  <a:pt x="851967" y="1078738"/>
                </a:lnTo>
                <a:cubicBezTo>
                  <a:pt x="865276" y="1055573"/>
                  <a:pt x="890067" y="1041349"/>
                  <a:pt x="916788" y="1041349"/>
                </a:cubicBezTo>
                <a:lnTo>
                  <a:pt x="2497912" y="1041349"/>
                </a:lnTo>
                <a:lnTo>
                  <a:pt x="2497912" y="75832"/>
                </a:lnTo>
                <a:cubicBezTo>
                  <a:pt x="2497912" y="34481"/>
                  <a:pt x="2531440" y="953"/>
                  <a:pt x="2572791" y="953"/>
                </a:cubicBezTo>
                <a:lnTo>
                  <a:pt x="6318238" y="953"/>
                </a:lnTo>
                <a:cubicBezTo>
                  <a:pt x="6359589" y="953"/>
                  <a:pt x="6393117" y="34481"/>
                  <a:pt x="6393117" y="75832"/>
                </a:cubicBezTo>
                <a:lnTo>
                  <a:pt x="6393117" y="4445508"/>
                </a:lnTo>
                <a:cubicBezTo>
                  <a:pt x="6393117" y="4486859"/>
                  <a:pt x="6359589" y="4520388"/>
                  <a:pt x="6318238" y="4520388"/>
                </a:cubicBezTo>
                <a:lnTo>
                  <a:pt x="5973001" y="4520388"/>
                </a:lnTo>
                <a:cubicBezTo>
                  <a:pt x="5935498" y="4870819"/>
                  <a:pt x="5638013" y="5144630"/>
                  <a:pt x="5277828" y="5144630"/>
                </a:cubicBezTo>
                <a:close/>
                <a:moveTo>
                  <a:pt x="5277828" y="3896157"/>
                </a:moveTo>
                <a:cubicBezTo>
                  <a:pt x="4974959" y="3896157"/>
                  <a:pt x="4728464" y="4142638"/>
                  <a:pt x="4728464" y="4445521"/>
                </a:cubicBezTo>
                <a:cubicBezTo>
                  <a:pt x="4728464" y="4748403"/>
                  <a:pt x="4974946" y="4994885"/>
                  <a:pt x="5277828" y="4994885"/>
                </a:cubicBezTo>
                <a:cubicBezTo>
                  <a:pt x="5580698" y="4994885"/>
                  <a:pt x="5827192" y="4748403"/>
                  <a:pt x="5827192" y="4445521"/>
                </a:cubicBezTo>
                <a:cubicBezTo>
                  <a:pt x="5827192" y="4142638"/>
                  <a:pt x="5580710" y="3896157"/>
                  <a:pt x="5277828" y="3896157"/>
                </a:cubicBezTo>
                <a:close/>
                <a:moveTo>
                  <a:pt x="1324318" y="3896157"/>
                </a:moveTo>
                <a:cubicBezTo>
                  <a:pt x="1021448" y="3896157"/>
                  <a:pt x="774954" y="4142638"/>
                  <a:pt x="774954" y="4445521"/>
                </a:cubicBezTo>
                <a:cubicBezTo>
                  <a:pt x="774954" y="4748403"/>
                  <a:pt x="1021436" y="4994885"/>
                  <a:pt x="1324318" y="4994885"/>
                </a:cubicBezTo>
                <a:cubicBezTo>
                  <a:pt x="1627200" y="4994885"/>
                  <a:pt x="1873682" y="4748403"/>
                  <a:pt x="1873682" y="4445521"/>
                </a:cubicBezTo>
                <a:cubicBezTo>
                  <a:pt x="1873682" y="4142638"/>
                  <a:pt x="1627188" y="3896157"/>
                  <a:pt x="1324318" y="3896157"/>
                </a:cubicBezTo>
                <a:close/>
                <a:moveTo>
                  <a:pt x="5972988" y="4370629"/>
                </a:moveTo>
                <a:lnTo>
                  <a:pt x="6243346" y="4370629"/>
                </a:lnTo>
                <a:lnTo>
                  <a:pt x="6243346" y="150711"/>
                </a:lnTo>
                <a:lnTo>
                  <a:pt x="2647671" y="150711"/>
                </a:lnTo>
                <a:lnTo>
                  <a:pt x="2647671" y="4370629"/>
                </a:lnTo>
                <a:lnTo>
                  <a:pt x="4582668" y="4370629"/>
                </a:lnTo>
                <a:cubicBezTo>
                  <a:pt x="4620159" y="4020211"/>
                  <a:pt x="4917643" y="3746386"/>
                  <a:pt x="5277828" y="3746386"/>
                </a:cubicBezTo>
                <a:cubicBezTo>
                  <a:pt x="5638013" y="3746386"/>
                  <a:pt x="5935498" y="4020211"/>
                  <a:pt x="5972988" y="4370629"/>
                </a:cubicBezTo>
                <a:close/>
                <a:moveTo>
                  <a:pt x="2019465" y="4370629"/>
                </a:moveTo>
                <a:lnTo>
                  <a:pt x="2497912" y="4370629"/>
                </a:lnTo>
                <a:lnTo>
                  <a:pt x="2497912" y="2647671"/>
                </a:lnTo>
                <a:lnTo>
                  <a:pt x="150711" y="2647671"/>
                </a:lnTo>
                <a:lnTo>
                  <a:pt x="150711" y="4029354"/>
                </a:lnTo>
                <a:cubicBezTo>
                  <a:pt x="150711" y="4217518"/>
                  <a:pt x="303822" y="4370629"/>
                  <a:pt x="491985" y="4370629"/>
                </a:cubicBezTo>
                <a:lnTo>
                  <a:pt x="629145" y="4370629"/>
                </a:lnTo>
                <a:cubicBezTo>
                  <a:pt x="666636" y="4020211"/>
                  <a:pt x="964121" y="3746386"/>
                  <a:pt x="1324305" y="3746386"/>
                </a:cubicBezTo>
                <a:cubicBezTo>
                  <a:pt x="1684490" y="3746386"/>
                  <a:pt x="1981975" y="4020211"/>
                  <a:pt x="2019465" y="4370629"/>
                </a:cubicBezTo>
                <a:close/>
                <a:moveTo>
                  <a:pt x="2023428" y="2497912"/>
                </a:moveTo>
                <a:lnTo>
                  <a:pt x="2497912" y="2497912"/>
                </a:lnTo>
                <a:lnTo>
                  <a:pt x="2497912" y="1191108"/>
                </a:lnTo>
                <a:lnTo>
                  <a:pt x="2023428" y="1191108"/>
                </a:lnTo>
                <a:lnTo>
                  <a:pt x="2023428" y="2497912"/>
                </a:lnTo>
                <a:close/>
                <a:moveTo>
                  <a:pt x="205575" y="2497912"/>
                </a:moveTo>
                <a:lnTo>
                  <a:pt x="1873669" y="2497912"/>
                </a:lnTo>
                <a:lnTo>
                  <a:pt x="1873669" y="1191108"/>
                </a:lnTo>
                <a:lnTo>
                  <a:pt x="960069" y="1191108"/>
                </a:lnTo>
                <a:lnTo>
                  <a:pt x="205575" y="2497912"/>
                </a:lnTo>
                <a:close/>
                <a:moveTo>
                  <a:pt x="2156638" y="3063837"/>
                </a:moveTo>
                <a:lnTo>
                  <a:pt x="1740472" y="3063837"/>
                </a:lnTo>
                <a:lnTo>
                  <a:pt x="1740472" y="2914079"/>
                </a:lnTo>
                <a:lnTo>
                  <a:pt x="2156638" y="2914079"/>
                </a:lnTo>
                <a:lnTo>
                  <a:pt x="2156638" y="3063837"/>
                </a:lnTo>
                <a:close/>
                <a:moveTo>
                  <a:pt x="5902071" y="2647671"/>
                </a:moveTo>
                <a:lnTo>
                  <a:pt x="4237432" y="2647671"/>
                </a:lnTo>
                <a:lnTo>
                  <a:pt x="4237432" y="2497912"/>
                </a:lnTo>
                <a:lnTo>
                  <a:pt x="5902071" y="2497912"/>
                </a:lnTo>
                <a:lnTo>
                  <a:pt x="5902071" y="2647671"/>
                </a:lnTo>
                <a:close/>
                <a:moveTo>
                  <a:pt x="5902071" y="2023428"/>
                </a:moveTo>
                <a:lnTo>
                  <a:pt x="3821278" y="2023428"/>
                </a:lnTo>
                <a:lnTo>
                  <a:pt x="3821278" y="1873669"/>
                </a:lnTo>
                <a:lnTo>
                  <a:pt x="5902084" y="1873669"/>
                </a:lnTo>
                <a:lnTo>
                  <a:pt x="5902084" y="2023428"/>
                </a:lnTo>
                <a:close/>
                <a:moveTo>
                  <a:pt x="5902071" y="1399197"/>
                </a:moveTo>
                <a:lnTo>
                  <a:pt x="3405111" y="1399197"/>
                </a:lnTo>
                <a:lnTo>
                  <a:pt x="3405111" y="1249439"/>
                </a:lnTo>
                <a:lnTo>
                  <a:pt x="5902071" y="1249439"/>
                </a:lnTo>
                <a:lnTo>
                  <a:pt x="5902071" y="1399197"/>
                </a:lnTo>
                <a:close/>
                <a:moveTo>
                  <a:pt x="5902071" y="774954"/>
                </a:moveTo>
                <a:lnTo>
                  <a:pt x="2988945" y="774954"/>
                </a:lnTo>
                <a:lnTo>
                  <a:pt x="2988945" y="625196"/>
                </a:lnTo>
                <a:lnTo>
                  <a:pt x="5902071" y="625196"/>
                </a:lnTo>
                <a:lnTo>
                  <a:pt x="5902071" y="774954"/>
                </a:lnTo>
                <a:close/>
              </a:path>
            </a:pathLst>
          </a:custGeom>
          <a:solidFill>
            <a:schemeClr val="tx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defTabSz="685934" hangingPunct="0">
              <a:lnSpc>
                <a:spcPts val="1500"/>
              </a:lnSpc>
              <a:defRPr/>
            </a:pPr>
            <a:endParaRPr lang="en-US" sz="1600" kern="0" dirty="0">
              <a:solidFill>
                <a:srgbClr val="000000"/>
              </a:solidFill>
              <a:latin typeface="IBM Plex Sans Regular"/>
              <a:cs typeface="Arial"/>
              <a:sym typeface="IBM Plex Sans Light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9B6DCC2-6239-084F-A7CC-D78CE2551F36}"/>
              </a:ext>
            </a:extLst>
          </p:cNvPr>
          <p:cNvSpPr txBox="1"/>
          <p:nvPr/>
        </p:nvSpPr>
        <p:spPr>
          <a:xfrm>
            <a:off x="9477217" y="4455333"/>
            <a:ext cx="2286000" cy="107721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Circular</a:t>
            </a:r>
          </a:p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Supply Chains </a:t>
            </a:r>
          </a:p>
          <a:p>
            <a:pPr defTabSz="914622" hangingPunct="0">
              <a:lnSpc>
                <a:spcPts val="1500"/>
              </a:lnSpc>
              <a:spcBef>
                <a:spcPts val="900"/>
              </a:spcBef>
              <a:defRPr/>
            </a:pPr>
            <a:r>
              <a:rPr lang="en-US" sz="1467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Intelligent workflows</a:t>
            </a:r>
            <a:r>
              <a:rPr lang="en-US" sz="1467" kern="0" dirty="0">
                <a:solidFill>
                  <a:srgbClr val="FF644E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 </a:t>
            </a:r>
            <a:br>
              <a:rPr lang="en-US" sz="1467" kern="0" dirty="0">
                <a:solidFill>
                  <a:srgbClr val="FF644E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</a:br>
            <a:r>
              <a:rPr lang="en-US" sz="1467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for equitable, transparent, </a:t>
            </a:r>
            <a:br>
              <a:rPr lang="en-US" sz="1467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</a:br>
            <a:r>
              <a:rPr lang="en-US" sz="1467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and net zero supply chains</a:t>
            </a:r>
          </a:p>
        </p:txBody>
      </p:sp>
      <p:sp>
        <p:nvSpPr>
          <p:cNvPr id="45" name="Freeform 42">
            <a:extLst>
              <a:ext uri="{FF2B5EF4-FFF2-40B4-BE49-F238E27FC236}">
                <a16:creationId xmlns:a16="http://schemas.microsoft.com/office/drawing/2014/main" id="{9EFF22D8-4CA3-F948-B531-FEB74C094E6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772760" y="3582948"/>
            <a:ext cx="675928" cy="675768"/>
          </a:xfrm>
          <a:custGeom>
            <a:avLst/>
            <a:gdLst>
              <a:gd name="T0" fmla="*/ 610 w 2241"/>
              <a:gd name="T1" fmla="*/ 2241 h 2241"/>
              <a:gd name="T2" fmla="*/ 584 w 2241"/>
              <a:gd name="T3" fmla="*/ 1949 h 2241"/>
              <a:gd name="T4" fmla="*/ 0 w 2241"/>
              <a:gd name="T5" fmla="*/ 1923 h 2241"/>
              <a:gd name="T6" fmla="*/ 26 w 2241"/>
              <a:gd name="T7" fmla="*/ 292 h 2241"/>
              <a:gd name="T8" fmla="*/ 584 w 2241"/>
              <a:gd name="T9" fmla="*/ 26 h 2241"/>
              <a:gd name="T10" fmla="*/ 1631 w 2241"/>
              <a:gd name="T11" fmla="*/ 0 h 2241"/>
              <a:gd name="T12" fmla="*/ 1657 w 2241"/>
              <a:gd name="T13" fmla="*/ 292 h 2241"/>
              <a:gd name="T14" fmla="*/ 2241 w 2241"/>
              <a:gd name="T15" fmla="*/ 318 h 2241"/>
              <a:gd name="T16" fmla="*/ 2215 w 2241"/>
              <a:gd name="T17" fmla="*/ 1949 h 2241"/>
              <a:gd name="T18" fmla="*/ 1657 w 2241"/>
              <a:gd name="T19" fmla="*/ 2214 h 2241"/>
              <a:gd name="T20" fmla="*/ 636 w 2241"/>
              <a:gd name="T21" fmla="*/ 2188 h 2241"/>
              <a:gd name="T22" fmla="*/ 1605 w 2241"/>
              <a:gd name="T23" fmla="*/ 52 h 2241"/>
              <a:gd name="T24" fmla="*/ 636 w 2241"/>
              <a:gd name="T25" fmla="*/ 2188 h 2241"/>
              <a:gd name="T26" fmla="*/ 2189 w 2241"/>
              <a:gd name="T27" fmla="*/ 1896 h 2241"/>
              <a:gd name="T28" fmla="*/ 1657 w 2241"/>
              <a:gd name="T29" fmla="*/ 344 h 2241"/>
              <a:gd name="T30" fmla="*/ 1923 w 2241"/>
              <a:gd name="T31" fmla="*/ 510 h 2241"/>
              <a:gd name="T32" fmla="*/ 1657 w 2241"/>
              <a:gd name="T33" fmla="*/ 563 h 2241"/>
              <a:gd name="T34" fmla="*/ 1923 w 2241"/>
              <a:gd name="T35" fmla="*/ 729 h 2241"/>
              <a:gd name="T36" fmla="*/ 1657 w 2241"/>
              <a:gd name="T37" fmla="*/ 782 h 2241"/>
              <a:gd name="T38" fmla="*/ 1923 w 2241"/>
              <a:gd name="T39" fmla="*/ 948 h 2241"/>
              <a:gd name="T40" fmla="*/ 1657 w 2241"/>
              <a:gd name="T41" fmla="*/ 1001 h 2241"/>
              <a:gd name="T42" fmla="*/ 53 w 2241"/>
              <a:gd name="T43" fmla="*/ 1896 h 2241"/>
              <a:gd name="T44" fmla="*/ 584 w 2241"/>
              <a:gd name="T45" fmla="*/ 1001 h 2241"/>
              <a:gd name="T46" fmla="*/ 318 w 2241"/>
              <a:gd name="T47" fmla="*/ 948 h 2241"/>
              <a:gd name="T48" fmla="*/ 584 w 2241"/>
              <a:gd name="T49" fmla="*/ 782 h 2241"/>
              <a:gd name="T50" fmla="*/ 318 w 2241"/>
              <a:gd name="T51" fmla="*/ 729 h 2241"/>
              <a:gd name="T52" fmla="*/ 584 w 2241"/>
              <a:gd name="T53" fmla="*/ 563 h 2241"/>
              <a:gd name="T54" fmla="*/ 318 w 2241"/>
              <a:gd name="T55" fmla="*/ 510 h 2241"/>
              <a:gd name="T56" fmla="*/ 584 w 2241"/>
              <a:gd name="T57" fmla="*/ 344 h 2241"/>
              <a:gd name="T58" fmla="*/ 53 w 2241"/>
              <a:gd name="T59" fmla="*/ 1896 h 2241"/>
              <a:gd name="T60" fmla="*/ 829 w 2241"/>
              <a:gd name="T61" fmla="*/ 709 h 2241"/>
              <a:gd name="T62" fmla="*/ 1412 w 2241"/>
              <a:gd name="T63" fmla="*/ 656 h 2241"/>
              <a:gd name="T64" fmla="*/ 1412 w 2241"/>
              <a:gd name="T65" fmla="*/ 490 h 2241"/>
              <a:gd name="T66" fmla="*/ 829 w 2241"/>
              <a:gd name="T67" fmla="*/ 437 h 2241"/>
              <a:gd name="T68" fmla="*/ 1412 w 2241"/>
              <a:gd name="T69" fmla="*/ 490 h 2241"/>
              <a:gd name="T70" fmla="*/ 829 w 2241"/>
              <a:gd name="T71" fmla="*/ 271 h 2241"/>
              <a:gd name="T72" fmla="*/ 1412 w 2241"/>
              <a:gd name="T73" fmla="*/ 219 h 2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241" h="2241">
                <a:moveTo>
                  <a:pt x="1631" y="2241"/>
                </a:moveTo>
                <a:cubicBezTo>
                  <a:pt x="610" y="2241"/>
                  <a:pt x="610" y="2241"/>
                  <a:pt x="610" y="2241"/>
                </a:cubicBezTo>
                <a:cubicBezTo>
                  <a:pt x="595" y="2241"/>
                  <a:pt x="584" y="2229"/>
                  <a:pt x="584" y="2214"/>
                </a:cubicBezTo>
                <a:cubicBezTo>
                  <a:pt x="584" y="1949"/>
                  <a:pt x="584" y="1949"/>
                  <a:pt x="584" y="1949"/>
                </a:cubicBezTo>
                <a:cubicBezTo>
                  <a:pt x="26" y="1949"/>
                  <a:pt x="26" y="1949"/>
                  <a:pt x="26" y="1949"/>
                </a:cubicBezTo>
                <a:cubicBezTo>
                  <a:pt x="12" y="1949"/>
                  <a:pt x="0" y="1937"/>
                  <a:pt x="0" y="1923"/>
                </a:cubicBezTo>
                <a:cubicBezTo>
                  <a:pt x="0" y="318"/>
                  <a:pt x="0" y="318"/>
                  <a:pt x="0" y="318"/>
                </a:cubicBezTo>
                <a:cubicBezTo>
                  <a:pt x="0" y="303"/>
                  <a:pt x="12" y="292"/>
                  <a:pt x="26" y="292"/>
                </a:cubicBezTo>
                <a:cubicBezTo>
                  <a:pt x="584" y="292"/>
                  <a:pt x="584" y="292"/>
                  <a:pt x="584" y="292"/>
                </a:cubicBezTo>
                <a:cubicBezTo>
                  <a:pt x="584" y="26"/>
                  <a:pt x="584" y="26"/>
                  <a:pt x="584" y="26"/>
                </a:cubicBezTo>
                <a:cubicBezTo>
                  <a:pt x="584" y="12"/>
                  <a:pt x="595" y="0"/>
                  <a:pt x="610" y="0"/>
                </a:cubicBezTo>
                <a:cubicBezTo>
                  <a:pt x="1631" y="0"/>
                  <a:pt x="1631" y="0"/>
                  <a:pt x="1631" y="0"/>
                </a:cubicBezTo>
                <a:cubicBezTo>
                  <a:pt x="1646" y="0"/>
                  <a:pt x="1657" y="12"/>
                  <a:pt x="1657" y="26"/>
                </a:cubicBezTo>
                <a:cubicBezTo>
                  <a:pt x="1657" y="292"/>
                  <a:pt x="1657" y="292"/>
                  <a:pt x="1657" y="292"/>
                </a:cubicBezTo>
                <a:cubicBezTo>
                  <a:pt x="2215" y="292"/>
                  <a:pt x="2215" y="292"/>
                  <a:pt x="2215" y="292"/>
                </a:cubicBezTo>
                <a:cubicBezTo>
                  <a:pt x="2229" y="292"/>
                  <a:pt x="2241" y="303"/>
                  <a:pt x="2241" y="318"/>
                </a:cubicBezTo>
                <a:cubicBezTo>
                  <a:pt x="2241" y="1923"/>
                  <a:pt x="2241" y="1923"/>
                  <a:pt x="2241" y="1923"/>
                </a:cubicBezTo>
                <a:cubicBezTo>
                  <a:pt x="2241" y="1937"/>
                  <a:pt x="2229" y="1949"/>
                  <a:pt x="2215" y="1949"/>
                </a:cubicBezTo>
                <a:cubicBezTo>
                  <a:pt x="1657" y="1949"/>
                  <a:pt x="1657" y="1949"/>
                  <a:pt x="1657" y="1949"/>
                </a:cubicBezTo>
                <a:cubicBezTo>
                  <a:pt x="1657" y="2214"/>
                  <a:pt x="1657" y="2214"/>
                  <a:pt x="1657" y="2214"/>
                </a:cubicBezTo>
                <a:cubicBezTo>
                  <a:pt x="1657" y="2229"/>
                  <a:pt x="1646" y="2241"/>
                  <a:pt x="1631" y="2241"/>
                </a:cubicBezTo>
                <a:close/>
                <a:moveTo>
                  <a:pt x="636" y="2188"/>
                </a:moveTo>
                <a:cubicBezTo>
                  <a:pt x="1605" y="2188"/>
                  <a:pt x="1605" y="2188"/>
                  <a:pt x="1605" y="2188"/>
                </a:cubicBezTo>
                <a:cubicBezTo>
                  <a:pt x="1605" y="52"/>
                  <a:pt x="1605" y="52"/>
                  <a:pt x="1605" y="52"/>
                </a:cubicBezTo>
                <a:cubicBezTo>
                  <a:pt x="636" y="52"/>
                  <a:pt x="636" y="52"/>
                  <a:pt x="636" y="52"/>
                </a:cubicBezTo>
                <a:lnTo>
                  <a:pt x="636" y="2188"/>
                </a:lnTo>
                <a:close/>
                <a:moveTo>
                  <a:pt x="1657" y="1896"/>
                </a:moveTo>
                <a:cubicBezTo>
                  <a:pt x="2189" y="1896"/>
                  <a:pt x="2189" y="1896"/>
                  <a:pt x="2189" y="1896"/>
                </a:cubicBezTo>
                <a:cubicBezTo>
                  <a:pt x="2189" y="344"/>
                  <a:pt x="2189" y="344"/>
                  <a:pt x="2189" y="344"/>
                </a:cubicBezTo>
                <a:cubicBezTo>
                  <a:pt x="1657" y="344"/>
                  <a:pt x="1657" y="344"/>
                  <a:pt x="1657" y="344"/>
                </a:cubicBezTo>
                <a:cubicBezTo>
                  <a:pt x="1657" y="510"/>
                  <a:pt x="1657" y="510"/>
                  <a:pt x="1657" y="510"/>
                </a:cubicBezTo>
                <a:cubicBezTo>
                  <a:pt x="1923" y="510"/>
                  <a:pt x="1923" y="510"/>
                  <a:pt x="1923" y="510"/>
                </a:cubicBezTo>
                <a:cubicBezTo>
                  <a:pt x="1923" y="563"/>
                  <a:pt x="1923" y="563"/>
                  <a:pt x="1923" y="563"/>
                </a:cubicBezTo>
                <a:cubicBezTo>
                  <a:pt x="1657" y="563"/>
                  <a:pt x="1657" y="563"/>
                  <a:pt x="1657" y="563"/>
                </a:cubicBezTo>
                <a:cubicBezTo>
                  <a:pt x="1657" y="729"/>
                  <a:pt x="1657" y="729"/>
                  <a:pt x="1657" y="729"/>
                </a:cubicBezTo>
                <a:cubicBezTo>
                  <a:pt x="1923" y="729"/>
                  <a:pt x="1923" y="729"/>
                  <a:pt x="1923" y="729"/>
                </a:cubicBezTo>
                <a:cubicBezTo>
                  <a:pt x="1923" y="782"/>
                  <a:pt x="1923" y="782"/>
                  <a:pt x="1923" y="782"/>
                </a:cubicBezTo>
                <a:cubicBezTo>
                  <a:pt x="1657" y="782"/>
                  <a:pt x="1657" y="782"/>
                  <a:pt x="1657" y="782"/>
                </a:cubicBezTo>
                <a:cubicBezTo>
                  <a:pt x="1657" y="948"/>
                  <a:pt x="1657" y="948"/>
                  <a:pt x="1657" y="948"/>
                </a:cubicBezTo>
                <a:cubicBezTo>
                  <a:pt x="1923" y="948"/>
                  <a:pt x="1923" y="948"/>
                  <a:pt x="1923" y="948"/>
                </a:cubicBezTo>
                <a:cubicBezTo>
                  <a:pt x="1923" y="1001"/>
                  <a:pt x="1923" y="1001"/>
                  <a:pt x="1923" y="1001"/>
                </a:cubicBezTo>
                <a:cubicBezTo>
                  <a:pt x="1657" y="1001"/>
                  <a:pt x="1657" y="1001"/>
                  <a:pt x="1657" y="1001"/>
                </a:cubicBezTo>
                <a:lnTo>
                  <a:pt x="1657" y="1896"/>
                </a:lnTo>
                <a:close/>
                <a:moveTo>
                  <a:pt x="53" y="1896"/>
                </a:moveTo>
                <a:cubicBezTo>
                  <a:pt x="584" y="1896"/>
                  <a:pt x="584" y="1896"/>
                  <a:pt x="584" y="1896"/>
                </a:cubicBezTo>
                <a:cubicBezTo>
                  <a:pt x="584" y="1001"/>
                  <a:pt x="584" y="1001"/>
                  <a:pt x="584" y="1001"/>
                </a:cubicBezTo>
                <a:cubicBezTo>
                  <a:pt x="318" y="1001"/>
                  <a:pt x="318" y="1001"/>
                  <a:pt x="318" y="1001"/>
                </a:cubicBezTo>
                <a:cubicBezTo>
                  <a:pt x="318" y="948"/>
                  <a:pt x="318" y="948"/>
                  <a:pt x="318" y="948"/>
                </a:cubicBezTo>
                <a:cubicBezTo>
                  <a:pt x="584" y="948"/>
                  <a:pt x="584" y="948"/>
                  <a:pt x="584" y="948"/>
                </a:cubicBezTo>
                <a:cubicBezTo>
                  <a:pt x="584" y="782"/>
                  <a:pt x="584" y="782"/>
                  <a:pt x="584" y="782"/>
                </a:cubicBezTo>
                <a:cubicBezTo>
                  <a:pt x="318" y="782"/>
                  <a:pt x="318" y="782"/>
                  <a:pt x="318" y="782"/>
                </a:cubicBezTo>
                <a:cubicBezTo>
                  <a:pt x="318" y="729"/>
                  <a:pt x="318" y="729"/>
                  <a:pt x="318" y="729"/>
                </a:cubicBezTo>
                <a:cubicBezTo>
                  <a:pt x="584" y="729"/>
                  <a:pt x="584" y="729"/>
                  <a:pt x="584" y="729"/>
                </a:cubicBezTo>
                <a:cubicBezTo>
                  <a:pt x="584" y="563"/>
                  <a:pt x="584" y="563"/>
                  <a:pt x="584" y="563"/>
                </a:cubicBezTo>
                <a:cubicBezTo>
                  <a:pt x="318" y="563"/>
                  <a:pt x="318" y="563"/>
                  <a:pt x="318" y="563"/>
                </a:cubicBezTo>
                <a:cubicBezTo>
                  <a:pt x="318" y="510"/>
                  <a:pt x="318" y="510"/>
                  <a:pt x="318" y="510"/>
                </a:cubicBezTo>
                <a:cubicBezTo>
                  <a:pt x="584" y="510"/>
                  <a:pt x="584" y="510"/>
                  <a:pt x="584" y="510"/>
                </a:cubicBezTo>
                <a:cubicBezTo>
                  <a:pt x="584" y="344"/>
                  <a:pt x="584" y="344"/>
                  <a:pt x="584" y="344"/>
                </a:cubicBezTo>
                <a:cubicBezTo>
                  <a:pt x="53" y="344"/>
                  <a:pt x="53" y="344"/>
                  <a:pt x="53" y="344"/>
                </a:cubicBezTo>
                <a:lnTo>
                  <a:pt x="53" y="1896"/>
                </a:lnTo>
                <a:close/>
                <a:moveTo>
                  <a:pt x="1412" y="709"/>
                </a:moveTo>
                <a:cubicBezTo>
                  <a:pt x="829" y="709"/>
                  <a:pt x="829" y="709"/>
                  <a:pt x="829" y="709"/>
                </a:cubicBezTo>
                <a:cubicBezTo>
                  <a:pt x="829" y="656"/>
                  <a:pt x="829" y="656"/>
                  <a:pt x="829" y="656"/>
                </a:cubicBezTo>
                <a:cubicBezTo>
                  <a:pt x="1412" y="656"/>
                  <a:pt x="1412" y="656"/>
                  <a:pt x="1412" y="656"/>
                </a:cubicBezTo>
                <a:lnTo>
                  <a:pt x="1412" y="709"/>
                </a:lnTo>
                <a:close/>
                <a:moveTo>
                  <a:pt x="1412" y="490"/>
                </a:moveTo>
                <a:cubicBezTo>
                  <a:pt x="829" y="490"/>
                  <a:pt x="829" y="490"/>
                  <a:pt x="829" y="490"/>
                </a:cubicBezTo>
                <a:cubicBezTo>
                  <a:pt x="829" y="437"/>
                  <a:pt x="829" y="437"/>
                  <a:pt x="829" y="437"/>
                </a:cubicBezTo>
                <a:cubicBezTo>
                  <a:pt x="1412" y="437"/>
                  <a:pt x="1412" y="437"/>
                  <a:pt x="1412" y="437"/>
                </a:cubicBezTo>
                <a:lnTo>
                  <a:pt x="1412" y="490"/>
                </a:lnTo>
                <a:close/>
                <a:moveTo>
                  <a:pt x="1412" y="271"/>
                </a:moveTo>
                <a:cubicBezTo>
                  <a:pt x="829" y="271"/>
                  <a:pt x="829" y="271"/>
                  <a:pt x="829" y="271"/>
                </a:cubicBezTo>
                <a:cubicBezTo>
                  <a:pt x="829" y="219"/>
                  <a:pt x="829" y="219"/>
                  <a:pt x="829" y="219"/>
                </a:cubicBezTo>
                <a:cubicBezTo>
                  <a:pt x="1412" y="219"/>
                  <a:pt x="1412" y="219"/>
                  <a:pt x="1412" y="219"/>
                </a:cubicBezTo>
                <a:lnTo>
                  <a:pt x="1412" y="271"/>
                </a:lnTo>
                <a:close/>
              </a:path>
            </a:pathLst>
          </a:custGeom>
          <a:solidFill>
            <a:schemeClr val="tx1"/>
          </a:solidFill>
          <a:ln w="12700"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622" hangingPunct="0">
              <a:lnSpc>
                <a:spcPts val="1500"/>
              </a:lnSpc>
              <a:defRPr/>
            </a:pPr>
            <a:endParaRPr lang="uk-UA" sz="2400" kern="0">
              <a:solidFill>
                <a:srgbClr val="000000"/>
              </a:solidFill>
              <a:latin typeface="IBM Plex Sans Regular"/>
              <a:cs typeface="Arial"/>
              <a:sym typeface="IBM Plex Sans Light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C9C0BC76-B03D-7443-916E-C0FF3A69DA5A}"/>
              </a:ext>
            </a:extLst>
          </p:cNvPr>
          <p:cNvSpPr txBox="1"/>
          <p:nvPr/>
        </p:nvSpPr>
        <p:spPr>
          <a:xfrm>
            <a:off x="6749321" y="4455333"/>
            <a:ext cx="2423160" cy="107721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Resilient </a:t>
            </a:r>
          </a:p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IT Infrastructure</a:t>
            </a:r>
          </a:p>
          <a:p>
            <a:pPr defTabSz="914622" hangingPunct="0">
              <a:lnSpc>
                <a:spcPts val="1500"/>
              </a:lnSpc>
              <a:spcBef>
                <a:spcPts val="900"/>
              </a:spcBef>
              <a:defRPr/>
            </a:pPr>
            <a:r>
              <a:rPr lang="en-US" sz="1467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Responsible computing to enable sustainable IT and drive social impact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41494B44-FA19-A44F-86F8-0150F76F80BA}"/>
              </a:ext>
            </a:extLst>
          </p:cNvPr>
          <p:cNvCxnSpPr>
            <a:cxnSpLocks/>
          </p:cNvCxnSpPr>
          <p:nvPr/>
        </p:nvCxnSpPr>
        <p:spPr bwMode="auto">
          <a:xfrm>
            <a:off x="6444584" y="3570673"/>
            <a:ext cx="0" cy="210312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140CCADA-FA7B-0F77-748C-77DEBA8C0F27}"/>
              </a:ext>
            </a:extLst>
          </p:cNvPr>
          <p:cNvCxnSpPr>
            <a:cxnSpLocks/>
          </p:cNvCxnSpPr>
          <p:nvPr/>
        </p:nvCxnSpPr>
        <p:spPr bwMode="auto">
          <a:xfrm flipH="1">
            <a:off x="3608617" y="6103787"/>
            <a:ext cx="8177347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D9F57BCD-32D3-FA4C-AF06-CBFA2AD44D43}"/>
              </a:ext>
            </a:extLst>
          </p:cNvPr>
          <p:cNvCxnSpPr>
            <a:cxnSpLocks/>
          </p:cNvCxnSpPr>
          <p:nvPr/>
        </p:nvCxnSpPr>
        <p:spPr bwMode="auto">
          <a:xfrm flipH="1">
            <a:off x="3608617" y="3360587"/>
            <a:ext cx="8177347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F9E93FE-CE4A-F046-8CB1-00340856B2F5}"/>
              </a:ext>
            </a:extLst>
          </p:cNvPr>
          <p:cNvCxnSpPr>
            <a:cxnSpLocks/>
          </p:cNvCxnSpPr>
          <p:nvPr/>
        </p:nvCxnSpPr>
        <p:spPr bwMode="auto">
          <a:xfrm flipH="1">
            <a:off x="3608617" y="1102411"/>
            <a:ext cx="8177347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D126BED-CBCB-314B-B75C-3C34A85D03FC}"/>
              </a:ext>
            </a:extLst>
          </p:cNvPr>
          <p:cNvCxnSpPr>
            <a:cxnSpLocks/>
          </p:cNvCxnSpPr>
          <p:nvPr/>
        </p:nvCxnSpPr>
        <p:spPr bwMode="auto">
          <a:xfrm flipH="1">
            <a:off x="3608617" y="2230643"/>
            <a:ext cx="8177347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F477A04F-7F0F-EA47-94B8-1D7886F41539}"/>
              </a:ext>
            </a:extLst>
          </p:cNvPr>
          <p:cNvSpPr txBox="1"/>
          <p:nvPr/>
        </p:nvSpPr>
        <p:spPr>
          <a:xfrm>
            <a:off x="3771876" y="4455333"/>
            <a:ext cx="2651760" cy="1077218"/>
          </a:xfrm>
          <a:prstGeom prst="rect">
            <a:avLst/>
          </a:prstGeom>
          <a:noFill/>
        </p:spPr>
        <p:txBody>
          <a:bodyPr wrap="square" lIns="121920" tIns="0" rIns="0" bIns="0">
            <a:spAutoFit/>
          </a:bodyPr>
          <a:lstStyle/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Intelligent </a:t>
            </a:r>
          </a:p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Facilities and Assets</a:t>
            </a:r>
          </a:p>
          <a:p>
            <a:pPr defTabSz="914622" hangingPunct="0">
              <a:lnSpc>
                <a:spcPts val="1500"/>
              </a:lnSpc>
              <a:spcBef>
                <a:spcPts val="900"/>
              </a:spcBef>
              <a:defRPr/>
            </a:pPr>
            <a:r>
              <a:rPr lang="en-US" sz="1467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Operational insight to drive</a:t>
            </a:r>
          </a:p>
          <a:p>
            <a:pPr defTabSz="914622" hangingPunct="0">
              <a:lnSpc>
                <a:spcPts val="1500"/>
              </a:lnSpc>
              <a:defRPr/>
            </a:pPr>
            <a:r>
              <a:rPr lang="en-US" sz="1467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clean energy transition, efficient waste management 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F1BD60F3-8A4B-0E4F-8C6C-6B00D396D7A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97569" y="3582948"/>
            <a:ext cx="675768" cy="67479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20B70CBA-257C-6D85-D998-C2CBBD005665}"/>
              </a:ext>
            </a:extLst>
          </p:cNvPr>
          <p:cNvSpPr txBox="1"/>
          <p:nvPr/>
        </p:nvSpPr>
        <p:spPr>
          <a:xfrm>
            <a:off x="3854429" y="1284235"/>
            <a:ext cx="2590155" cy="584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defTabSz="914622" hangingPunct="0"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Aligned Business </a:t>
            </a:r>
          </a:p>
          <a:p>
            <a:pPr defTabSz="914622" hangingPunct="0"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Strategy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B0E5848-42FA-9780-E726-83CB024C3A1E}"/>
              </a:ext>
            </a:extLst>
          </p:cNvPr>
          <p:cNvSpPr txBox="1"/>
          <p:nvPr/>
        </p:nvSpPr>
        <p:spPr>
          <a:xfrm>
            <a:off x="3854427" y="2433767"/>
            <a:ext cx="2327586" cy="830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defTabSz="914622" hangingPunct="0"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ESG Data, Reporting, and Climate Risk Managemen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02A145F-69DF-5C97-1445-6BF4F4011509}"/>
              </a:ext>
            </a:extLst>
          </p:cNvPr>
          <p:cNvSpPr/>
          <p:nvPr/>
        </p:nvSpPr>
        <p:spPr bwMode="auto">
          <a:xfrm>
            <a:off x="6535237" y="1325450"/>
            <a:ext cx="5085264" cy="434863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1219139" hangingPunct="0">
              <a:lnSpc>
                <a:spcPts val="1500"/>
              </a:lnSpc>
            </a:pPr>
            <a:r>
              <a:rPr lang="en-US" sz="1600" kern="0" dirty="0">
                <a:solidFill>
                  <a:srgbClr val="000000"/>
                </a:solidFill>
                <a:latin typeface="IBM Plex Sans Light"/>
                <a:sym typeface="IBM Plex Sans Light"/>
              </a:rPr>
              <a:t>Organization, operating model, culture, data and tech strategy to drive innovation across business and society 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69A1C53-2682-2165-F0B0-36F2B4AD8EE3}"/>
              </a:ext>
            </a:extLst>
          </p:cNvPr>
          <p:cNvSpPr/>
          <p:nvPr/>
        </p:nvSpPr>
        <p:spPr bwMode="auto">
          <a:xfrm>
            <a:off x="6535237" y="2474982"/>
            <a:ext cx="4892040" cy="434863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1219139" hangingPunct="0">
              <a:lnSpc>
                <a:spcPts val="1500"/>
              </a:lnSpc>
            </a:pPr>
            <a:r>
              <a:rPr lang="en-US" sz="1600" kern="0" dirty="0">
                <a:solidFill>
                  <a:srgbClr val="000000"/>
                </a:solidFill>
                <a:latin typeface="IBM Plex Sans Light"/>
                <a:sym typeface="IBM Plex Sans Light"/>
              </a:rPr>
              <a:t>System of record to operationalize sustainability goals and environmental intelligence</a:t>
            </a:r>
          </a:p>
        </p:txBody>
      </p:sp>
    </p:spTree>
    <p:extLst>
      <p:ext uri="{BB962C8B-B14F-4D97-AF65-F5344CB8AC3E}">
        <p14:creationId xmlns:p14="http://schemas.microsoft.com/office/powerpoint/2010/main" val="834814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7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75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7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25"/>
                            </p:stCondLst>
                            <p:childTnLst>
                              <p:par>
                                <p:cTn id="3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 animBg="1"/>
      <p:bldP spid="46" grpId="0"/>
      <p:bldP spid="45" grpId="0" animBg="1"/>
      <p:bldP spid="53" grpId="0"/>
      <p:bldP spid="19" grpId="0"/>
      <p:bldP spid="25" grpId="0"/>
      <p:bldP spid="26" grpId="0"/>
      <p:bldP spid="27" grpId="0"/>
      <p:bldP spid="2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C40C2C21-C09B-19BB-6EBB-FF30ABAA1F3A}"/>
              </a:ext>
            </a:extLst>
          </p:cNvPr>
          <p:cNvSpPr/>
          <p:nvPr/>
        </p:nvSpPr>
        <p:spPr>
          <a:xfrm>
            <a:off x="3608617" y="1143649"/>
            <a:ext cx="8154600" cy="1036181"/>
          </a:xfrm>
          <a:prstGeom prst="rect">
            <a:avLst/>
          </a:prstGeom>
          <a:solidFill>
            <a:srgbClr val="0F62FD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ctr" defTabSz="412750" hangingPunct="0"/>
            <a:r>
              <a:rPr lang="en-US" sz="1600" kern="0" dirty="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rPr>
              <a:t> </a:t>
            </a:r>
          </a:p>
          <a:p>
            <a:pPr algn="ctr" defTabSz="412750" hangingPunct="0"/>
            <a:endParaRPr lang="en-US" sz="160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  <a:p>
            <a:pPr algn="ctr" defTabSz="412750" hangingPunct="0"/>
            <a:endParaRPr lang="en-US" sz="160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  <a:p>
            <a:pPr algn="ctr" defTabSz="412750" hangingPunct="0"/>
            <a:endParaRPr lang="en-US" sz="160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5E6C207-B970-2C48-9E2C-982E3DEDB214}"/>
              </a:ext>
            </a:extLst>
          </p:cNvPr>
          <p:cNvCxnSpPr>
            <a:cxnSpLocks/>
          </p:cNvCxnSpPr>
          <p:nvPr/>
        </p:nvCxnSpPr>
        <p:spPr bwMode="auto">
          <a:xfrm>
            <a:off x="9174845" y="3570673"/>
            <a:ext cx="0" cy="210312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51" name="Graphic 69">
            <a:extLst>
              <a:ext uri="{FF2B5EF4-FFF2-40B4-BE49-F238E27FC236}">
                <a16:creationId xmlns:a16="http://schemas.microsoft.com/office/drawing/2014/main" id="{C1103746-D918-C646-A3F9-067418A3BFAD}"/>
              </a:ext>
            </a:extLst>
          </p:cNvPr>
          <p:cNvSpPr>
            <a:spLocks noChangeAspect="1"/>
          </p:cNvSpPr>
          <p:nvPr/>
        </p:nvSpPr>
        <p:spPr>
          <a:xfrm>
            <a:off x="9477217" y="3627225"/>
            <a:ext cx="750307" cy="543016"/>
          </a:xfrm>
          <a:custGeom>
            <a:avLst/>
            <a:gdLst>
              <a:gd name="connsiteX0" fmla="*/ 5277828 w 6393180"/>
              <a:gd name="connsiteY0" fmla="*/ 5144630 h 5144770"/>
              <a:gd name="connsiteX1" fmla="*/ 4582668 w 6393180"/>
              <a:gd name="connsiteY1" fmla="*/ 4520388 h 5144770"/>
              <a:gd name="connsiteX2" fmla="*/ 2019465 w 6393180"/>
              <a:gd name="connsiteY2" fmla="*/ 4520388 h 5144770"/>
              <a:gd name="connsiteX3" fmla="*/ 1324305 w 6393180"/>
              <a:gd name="connsiteY3" fmla="*/ 5144630 h 5144770"/>
              <a:gd name="connsiteX4" fmla="*/ 629145 w 6393180"/>
              <a:gd name="connsiteY4" fmla="*/ 4520388 h 5144770"/>
              <a:gd name="connsiteX5" fmla="*/ 491985 w 6393180"/>
              <a:gd name="connsiteY5" fmla="*/ 4520388 h 5144770"/>
              <a:gd name="connsiteX6" fmla="*/ 953 w 6393180"/>
              <a:gd name="connsiteY6" fmla="*/ 4029354 h 5144770"/>
              <a:gd name="connsiteX7" fmla="*/ 953 w 6393180"/>
              <a:gd name="connsiteY7" fmla="*/ 2572791 h 5144770"/>
              <a:gd name="connsiteX8" fmla="*/ 11621 w 6393180"/>
              <a:gd name="connsiteY8" fmla="*/ 2534285 h 5144770"/>
              <a:gd name="connsiteX9" fmla="*/ 851967 w 6393180"/>
              <a:gd name="connsiteY9" fmla="*/ 1078738 h 5144770"/>
              <a:gd name="connsiteX10" fmla="*/ 916788 w 6393180"/>
              <a:gd name="connsiteY10" fmla="*/ 1041349 h 5144770"/>
              <a:gd name="connsiteX11" fmla="*/ 2497912 w 6393180"/>
              <a:gd name="connsiteY11" fmla="*/ 1041349 h 5144770"/>
              <a:gd name="connsiteX12" fmla="*/ 2497912 w 6393180"/>
              <a:gd name="connsiteY12" fmla="*/ 75832 h 5144770"/>
              <a:gd name="connsiteX13" fmla="*/ 2572791 w 6393180"/>
              <a:gd name="connsiteY13" fmla="*/ 953 h 5144770"/>
              <a:gd name="connsiteX14" fmla="*/ 6318238 w 6393180"/>
              <a:gd name="connsiteY14" fmla="*/ 953 h 5144770"/>
              <a:gd name="connsiteX15" fmla="*/ 6393117 w 6393180"/>
              <a:gd name="connsiteY15" fmla="*/ 75832 h 5144770"/>
              <a:gd name="connsiteX16" fmla="*/ 6393117 w 6393180"/>
              <a:gd name="connsiteY16" fmla="*/ 4445508 h 5144770"/>
              <a:gd name="connsiteX17" fmla="*/ 6318238 w 6393180"/>
              <a:gd name="connsiteY17" fmla="*/ 4520388 h 5144770"/>
              <a:gd name="connsiteX18" fmla="*/ 5973001 w 6393180"/>
              <a:gd name="connsiteY18" fmla="*/ 4520388 h 5144770"/>
              <a:gd name="connsiteX19" fmla="*/ 5277828 w 6393180"/>
              <a:gd name="connsiteY19" fmla="*/ 5144630 h 5144770"/>
              <a:gd name="connsiteX20" fmla="*/ 5277828 w 6393180"/>
              <a:gd name="connsiteY20" fmla="*/ 3896157 h 5144770"/>
              <a:gd name="connsiteX21" fmla="*/ 4728464 w 6393180"/>
              <a:gd name="connsiteY21" fmla="*/ 4445521 h 5144770"/>
              <a:gd name="connsiteX22" fmla="*/ 5277828 w 6393180"/>
              <a:gd name="connsiteY22" fmla="*/ 4994885 h 5144770"/>
              <a:gd name="connsiteX23" fmla="*/ 5827192 w 6393180"/>
              <a:gd name="connsiteY23" fmla="*/ 4445521 h 5144770"/>
              <a:gd name="connsiteX24" fmla="*/ 5277828 w 6393180"/>
              <a:gd name="connsiteY24" fmla="*/ 3896157 h 5144770"/>
              <a:gd name="connsiteX25" fmla="*/ 1324318 w 6393180"/>
              <a:gd name="connsiteY25" fmla="*/ 3896157 h 5144770"/>
              <a:gd name="connsiteX26" fmla="*/ 774954 w 6393180"/>
              <a:gd name="connsiteY26" fmla="*/ 4445521 h 5144770"/>
              <a:gd name="connsiteX27" fmla="*/ 1324318 w 6393180"/>
              <a:gd name="connsiteY27" fmla="*/ 4994885 h 5144770"/>
              <a:gd name="connsiteX28" fmla="*/ 1873682 w 6393180"/>
              <a:gd name="connsiteY28" fmla="*/ 4445521 h 5144770"/>
              <a:gd name="connsiteX29" fmla="*/ 1324318 w 6393180"/>
              <a:gd name="connsiteY29" fmla="*/ 3896157 h 5144770"/>
              <a:gd name="connsiteX30" fmla="*/ 5972988 w 6393180"/>
              <a:gd name="connsiteY30" fmla="*/ 4370629 h 5144770"/>
              <a:gd name="connsiteX31" fmla="*/ 6243346 w 6393180"/>
              <a:gd name="connsiteY31" fmla="*/ 4370629 h 5144770"/>
              <a:gd name="connsiteX32" fmla="*/ 6243346 w 6393180"/>
              <a:gd name="connsiteY32" fmla="*/ 150711 h 5144770"/>
              <a:gd name="connsiteX33" fmla="*/ 2647671 w 6393180"/>
              <a:gd name="connsiteY33" fmla="*/ 150711 h 5144770"/>
              <a:gd name="connsiteX34" fmla="*/ 2647671 w 6393180"/>
              <a:gd name="connsiteY34" fmla="*/ 4370629 h 5144770"/>
              <a:gd name="connsiteX35" fmla="*/ 4582668 w 6393180"/>
              <a:gd name="connsiteY35" fmla="*/ 4370629 h 5144770"/>
              <a:gd name="connsiteX36" fmla="*/ 5277828 w 6393180"/>
              <a:gd name="connsiteY36" fmla="*/ 3746386 h 5144770"/>
              <a:gd name="connsiteX37" fmla="*/ 5972988 w 6393180"/>
              <a:gd name="connsiteY37" fmla="*/ 4370629 h 5144770"/>
              <a:gd name="connsiteX38" fmla="*/ 2019465 w 6393180"/>
              <a:gd name="connsiteY38" fmla="*/ 4370629 h 5144770"/>
              <a:gd name="connsiteX39" fmla="*/ 2497912 w 6393180"/>
              <a:gd name="connsiteY39" fmla="*/ 4370629 h 5144770"/>
              <a:gd name="connsiteX40" fmla="*/ 2497912 w 6393180"/>
              <a:gd name="connsiteY40" fmla="*/ 2647671 h 5144770"/>
              <a:gd name="connsiteX41" fmla="*/ 150711 w 6393180"/>
              <a:gd name="connsiteY41" fmla="*/ 2647671 h 5144770"/>
              <a:gd name="connsiteX42" fmla="*/ 150711 w 6393180"/>
              <a:gd name="connsiteY42" fmla="*/ 4029354 h 5144770"/>
              <a:gd name="connsiteX43" fmla="*/ 491985 w 6393180"/>
              <a:gd name="connsiteY43" fmla="*/ 4370629 h 5144770"/>
              <a:gd name="connsiteX44" fmla="*/ 629145 w 6393180"/>
              <a:gd name="connsiteY44" fmla="*/ 4370629 h 5144770"/>
              <a:gd name="connsiteX45" fmla="*/ 1324305 w 6393180"/>
              <a:gd name="connsiteY45" fmla="*/ 3746386 h 5144770"/>
              <a:gd name="connsiteX46" fmla="*/ 2019465 w 6393180"/>
              <a:gd name="connsiteY46" fmla="*/ 4370629 h 5144770"/>
              <a:gd name="connsiteX47" fmla="*/ 2023428 w 6393180"/>
              <a:gd name="connsiteY47" fmla="*/ 2497912 h 5144770"/>
              <a:gd name="connsiteX48" fmla="*/ 2497912 w 6393180"/>
              <a:gd name="connsiteY48" fmla="*/ 2497912 h 5144770"/>
              <a:gd name="connsiteX49" fmla="*/ 2497912 w 6393180"/>
              <a:gd name="connsiteY49" fmla="*/ 1191108 h 5144770"/>
              <a:gd name="connsiteX50" fmla="*/ 2023428 w 6393180"/>
              <a:gd name="connsiteY50" fmla="*/ 1191108 h 5144770"/>
              <a:gd name="connsiteX51" fmla="*/ 2023428 w 6393180"/>
              <a:gd name="connsiteY51" fmla="*/ 2497912 h 5144770"/>
              <a:gd name="connsiteX52" fmla="*/ 205575 w 6393180"/>
              <a:gd name="connsiteY52" fmla="*/ 2497912 h 5144770"/>
              <a:gd name="connsiteX53" fmla="*/ 1873669 w 6393180"/>
              <a:gd name="connsiteY53" fmla="*/ 2497912 h 5144770"/>
              <a:gd name="connsiteX54" fmla="*/ 1873669 w 6393180"/>
              <a:gd name="connsiteY54" fmla="*/ 1191108 h 5144770"/>
              <a:gd name="connsiteX55" fmla="*/ 960069 w 6393180"/>
              <a:gd name="connsiteY55" fmla="*/ 1191108 h 5144770"/>
              <a:gd name="connsiteX56" fmla="*/ 205575 w 6393180"/>
              <a:gd name="connsiteY56" fmla="*/ 2497912 h 5144770"/>
              <a:gd name="connsiteX57" fmla="*/ 2156638 w 6393180"/>
              <a:gd name="connsiteY57" fmla="*/ 3063837 h 5144770"/>
              <a:gd name="connsiteX58" fmla="*/ 1740472 w 6393180"/>
              <a:gd name="connsiteY58" fmla="*/ 3063837 h 5144770"/>
              <a:gd name="connsiteX59" fmla="*/ 1740472 w 6393180"/>
              <a:gd name="connsiteY59" fmla="*/ 2914079 h 5144770"/>
              <a:gd name="connsiteX60" fmla="*/ 2156638 w 6393180"/>
              <a:gd name="connsiteY60" fmla="*/ 2914079 h 5144770"/>
              <a:gd name="connsiteX61" fmla="*/ 2156638 w 6393180"/>
              <a:gd name="connsiteY61" fmla="*/ 3063837 h 5144770"/>
              <a:gd name="connsiteX62" fmla="*/ 5902071 w 6393180"/>
              <a:gd name="connsiteY62" fmla="*/ 2647671 h 5144770"/>
              <a:gd name="connsiteX63" fmla="*/ 4237432 w 6393180"/>
              <a:gd name="connsiteY63" fmla="*/ 2647671 h 5144770"/>
              <a:gd name="connsiteX64" fmla="*/ 4237432 w 6393180"/>
              <a:gd name="connsiteY64" fmla="*/ 2497912 h 5144770"/>
              <a:gd name="connsiteX65" fmla="*/ 5902071 w 6393180"/>
              <a:gd name="connsiteY65" fmla="*/ 2497912 h 5144770"/>
              <a:gd name="connsiteX66" fmla="*/ 5902071 w 6393180"/>
              <a:gd name="connsiteY66" fmla="*/ 2647671 h 5144770"/>
              <a:gd name="connsiteX67" fmla="*/ 5902071 w 6393180"/>
              <a:gd name="connsiteY67" fmla="*/ 2023428 h 5144770"/>
              <a:gd name="connsiteX68" fmla="*/ 3821278 w 6393180"/>
              <a:gd name="connsiteY68" fmla="*/ 2023428 h 5144770"/>
              <a:gd name="connsiteX69" fmla="*/ 3821278 w 6393180"/>
              <a:gd name="connsiteY69" fmla="*/ 1873669 h 5144770"/>
              <a:gd name="connsiteX70" fmla="*/ 5902084 w 6393180"/>
              <a:gd name="connsiteY70" fmla="*/ 1873669 h 5144770"/>
              <a:gd name="connsiteX71" fmla="*/ 5902084 w 6393180"/>
              <a:gd name="connsiteY71" fmla="*/ 2023428 h 5144770"/>
              <a:gd name="connsiteX72" fmla="*/ 5902071 w 6393180"/>
              <a:gd name="connsiteY72" fmla="*/ 1399197 h 5144770"/>
              <a:gd name="connsiteX73" fmla="*/ 3405111 w 6393180"/>
              <a:gd name="connsiteY73" fmla="*/ 1399197 h 5144770"/>
              <a:gd name="connsiteX74" fmla="*/ 3405111 w 6393180"/>
              <a:gd name="connsiteY74" fmla="*/ 1249439 h 5144770"/>
              <a:gd name="connsiteX75" fmla="*/ 5902071 w 6393180"/>
              <a:gd name="connsiteY75" fmla="*/ 1249439 h 5144770"/>
              <a:gd name="connsiteX76" fmla="*/ 5902071 w 6393180"/>
              <a:gd name="connsiteY76" fmla="*/ 1399197 h 5144770"/>
              <a:gd name="connsiteX77" fmla="*/ 5902071 w 6393180"/>
              <a:gd name="connsiteY77" fmla="*/ 774954 h 5144770"/>
              <a:gd name="connsiteX78" fmla="*/ 2988945 w 6393180"/>
              <a:gd name="connsiteY78" fmla="*/ 774954 h 5144770"/>
              <a:gd name="connsiteX79" fmla="*/ 2988945 w 6393180"/>
              <a:gd name="connsiteY79" fmla="*/ 625196 h 5144770"/>
              <a:gd name="connsiteX80" fmla="*/ 5902071 w 6393180"/>
              <a:gd name="connsiteY80" fmla="*/ 625196 h 5144770"/>
              <a:gd name="connsiteX81" fmla="*/ 5902071 w 6393180"/>
              <a:gd name="connsiteY81" fmla="*/ 774954 h 5144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</a:cxnLst>
            <a:rect l="l" t="t" r="r" b="b"/>
            <a:pathLst>
              <a:path w="6393180" h="5144770">
                <a:moveTo>
                  <a:pt x="5277828" y="5144630"/>
                </a:moveTo>
                <a:cubicBezTo>
                  <a:pt x="4917656" y="5144630"/>
                  <a:pt x="4620159" y="4870819"/>
                  <a:pt x="4582668" y="4520388"/>
                </a:cubicBezTo>
                <a:lnTo>
                  <a:pt x="2019465" y="4520388"/>
                </a:lnTo>
                <a:cubicBezTo>
                  <a:pt x="1981975" y="4870806"/>
                  <a:pt x="1684490" y="5144630"/>
                  <a:pt x="1324305" y="5144630"/>
                </a:cubicBezTo>
                <a:cubicBezTo>
                  <a:pt x="964121" y="5144630"/>
                  <a:pt x="666636" y="4870819"/>
                  <a:pt x="629145" y="4520388"/>
                </a:cubicBezTo>
                <a:lnTo>
                  <a:pt x="491985" y="4520388"/>
                </a:lnTo>
                <a:cubicBezTo>
                  <a:pt x="221221" y="4520400"/>
                  <a:pt x="953" y="4300119"/>
                  <a:pt x="953" y="4029354"/>
                </a:cubicBezTo>
                <a:lnTo>
                  <a:pt x="953" y="2572791"/>
                </a:lnTo>
                <a:cubicBezTo>
                  <a:pt x="953" y="2558669"/>
                  <a:pt x="4813" y="2545461"/>
                  <a:pt x="11621" y="2534285"/>
                </a:cubicBezTo>
                <a:lnTo>
                  <a:pt x="851967" y="1078738"/>
                </a:lnTo>
                <a:cubicBezTo>
                  <a:pt x="865276" y="1055573"/>
                  <a:pt x="890067" y="1041349"/>
                  <a:pt x="916788" y="1041349"/>
                </a:cubicBezTo>
                <a:lnTo>
                  <a:pt x="2497912" y="1041349"/>
                </a:lnTo>
                <a:lnTo>
                  <a:pt x="2497912" y="75832"/>
                </a:lnTo>
                <a:cubicBezTo>
                  <a:pt x="2497912" y="34481"/>
                  <a:pt x="2531440" y="953"/>
                  <a:pt x="2572791" y="953"/>
                </a:cubicBezTo>
                <a:lnTo>
                  <a:pt x="6318238" y="953"/>
                </a:lnTo>
                <a:cubicBezTo>
                  <a:pt x="6359589" y="953"/>
                  <a:pt x="6393117" y="34481"/>
                  <a:pt x="6393117" y="75832"/>
                </a:cubicBezTo>
                <a:lnTo>
                  <a:pt x="6393117" y="4445508"/>
                </a:lnTo>
                <a:cubicBezTo>
                  <a:pt x="6393117" y="4486859"/>
                  <a:pt x="6359589" y="4520388"/>
                  <a:pt x="6318238" y="4520388"/>
                </a:cubicBezTo>
                <a:lnTo>
                  <a:pt x="5973001" y="4520388"/>
                </a:lnTo>
                <a:cubicBezTo>
                  <a:pt x="5935498" y="4870819"/>
                  <a:pt x="5638013" y="5144630"/>
                  <a:pt x="5277828" y="5144630"/>
                </a:cubicBezTo>
                <a:close/>
                <a:moveTo>
                  <a:pt x="5277828" y="3896157"/>
                </a:moveTo>
                <a:cubicBezTo>
                  <a:pt x="4974959" y="3896157"/>
                  <a:pt x="4728464" y="4142638"/>
                  <a:pt x="4728464" y="4445521"/>
                </a:cubicBezTo>
                <a:cubicBezTo>
                  <a:pt x="4728464" y="4748403"/>
                  <a:pt x="4974946" y="4994885"/>
                  <a:pt x="5277828" y="4994885"/>
                </a:cubicBezTo>
                <a:cubicBezTo>
                  <a:pt x="5580698" y="4994885"/>
                  <a:pt x="5827192" y="4748403"/>
                  <a:pt x="5827192" y="4445521"/>
                </a:cubicBezTo>
                <a:cubicBezTo>
                  <a:pt x="5827192" y="4142638"/>
                  <a:pt x="5580710" y="3896157"/>
                  <a:pt x="5277828" y="3896157"/>
                </a:cubicBezTo>
                <a:close/>
                <a:moveTo>
                  <a:pt x="1324318" y="3896157"/>
                </a:moveTo>
                <a:cubicBezTo>
                  <a:pt x="1021448" y="3896157"/>
                  <a:pt x="774954" y="4142638"/>
                  <a:pt x="774954" y="4445521"/>
                </a:cubicBezTo>
                <a:cubicBezTo>
                  <a:pt x="774954" y="4748403"/>
                  <a:pt x="1021436" y="4994885"/>
                  <a:pt x="1324318" y="4994885"/>
                </a:cubicBezTo>
                <a:cubicBezTo>
                  <a:pt x="1627200" y="4994885"/>
                  <a:pt x="1873682" y="4748403"/>
                  <a:pt x="1873682" y="4445521"/>
                </a:cubicBezTo>
                <a:cubicBezTo>
                  <a:pt x="1873682" y="4142638"/>
                  <a:pt x="1627188" y="3896157"/>
                  <a:pt x="1324318" y="3896157"/>
                </a:cubicBezTo>
                <a:close/>
                <a:moveTo>
                  <a:pt x="5972988" y="4370629"/>
                </a:moveTo>
                <a:lnTo>
                  <a:pt x="6243346" y="4370629"/>
                </a:lnTo>
                <a:lnTo>
                  <a:pt x="6243346" y="150711"/>
                </a:lnTo>
                <a:lnTo>
                  <a:pt x="2647671" y="150711"/>
                </a:lnTo>
                <a:lnTo>
                  <a:pt x="2647671" y="4370629"/>
                </a:lnTo>
                <a:lnTo>
                  <a:pt x="4582668" y="4370629"/>
                </a:lnTo>
                <a:cubicBezTo>
                  <a:pt x="4620159" y="4020211"/>
                  <a:pt x="4917643" y="3746386"/>
                  <a:pt x="5277828" y="3746386"/>
                </a:cubicBezTo>
                <a:cubicBezTo>
                  <a:pt x="5638013" y="3746386"/>
                  <a:pt x="5935498" y="4020211"/>
                  <a:pt x="5972988" y="4370629"/>
                </a:cubicBezTo>
                <a:close/>
                <a:moveTo>
                  <a:pt x="2019465" y="4370629"/>
                </a:moveTo>
                <a:lnTo>
                  <a:pt x="2497912" y="4370629"/>
                </a:lnTo>
                <a:lnTo>
                  <a:pt x="2497912" y="2647671"/>
                </a:lnTo>
                <a:lnTo>
                  <a:pt x="150711" y="2647671"/>
                </a:lnTo>
                <a:lnTo>
                  <a:pt x="150711" y="4029354"/>
                </a:lnTo>
                <a:cubicBezTo>
                  <a:pt x="150711" y="4217518"/>
                  <a:pt x="303822" y="4370629"/>
                  <a:pt x="491985" y="4370629"/>
                </a:cubicBezTo>
                <a:lnTo>
                  <a:pt x="629145" y="4370629"/>
                </a:lnTo>
                <a:cubicBezTo>
                  <a:pt x="666636" y="4020211"/>
                  <a:pt x="964121" y="3746386"/>
                  <a:pt x="1324305" y="3746386"/>
                </a:cubicBezTo>
                <a:cubicBezTo>
                  <a:pt x="1684490" y="3746386"/>
                  <a:pt x="1981975" y="4020211"/>
                  <a:pt x="2019465" y="4370629"/>
                </a:cubicBezTo>
                <a:close/>
                <a:moveTo>
                  <a:pt x="2023428" y="2497912"/>
                </a:moveTo>
                <a:lnTo>
                  <a:pt x="2497912" y="2497912"/>
                </a:lnTo>
                <a:lnTo>
                  <a:pt x="2497912" y="1191108"/>
                </a:lnTo>
                <a:lnTo>
                  <a:pt x="2023428" y="1191108"/>
                </a:lnTo>
                <a:lnTo>
                  <a:pt x="2023428" y="2497912"/>
                </a:lnTo>
                <a:close/>
                <a:moveTo>
                  <a:pt x="205575" y="2497912"/>
                </a:moveTo>
                <a:lnTo>
                  <a:pt x="1873669" y="2497912"/>
                </a:lnTo>
                <a:lnTo>
                  <a:pt x="1873669" y="1191108"/>
                </a:lnTo>
                <a:lnTo>
                  <a:pt x="960069" y="1191108"/>
                </a:lnTo>
                <a:lnTo>
                  <a:pt x="205575" y="2497912"/>
                </a:lnTo>
                <a:close/>
                <a:moveTo>
                  <a:pt x="2156638" y="3063837"/>
                </a:moveTo>
                <a:lnTo>
                  <a:pt x="1740472" y="3063837"/>
                </a:lnTo>
                <a:lnTo>
                  <a:pt x="1740472" y="2914079"/>
                </a:lnTo>
                <a:lnTo>
                  <a:pt x="2156638" y="2914079"/>
                </a:lnTo>
                <a:lnTo>
                  <a:pt x="2156638" y="3063837"/>
                </a:lnTo>
                <a:close/>
                <a:moveTo>
                  <a:pt x="5902071" y="2647671"/>
                </a:moveTo>
                <a:lnTo>
                  <a:pt x="4237432" y="2647671"/>
                </a:lnTo>
                <a:lnTo>
                  <a:pt x="4237432" y="2497912"/>
                </a:lnTo>
                <a:lnTo>
                  <a:pt x="5902071" y="2497912"/>
                </a:lnTo>
                <a:lnTo>
                  <a:pt x="5902071" y="2647671"/>
                </a:lnTo>
                <a:close/>
                <a:moveTo>
                  <a:pt x="5902071" y="2023428"/>
                </a:moveTo>
                <a:lnTo>
                  <a:pt x="3821278" y="2023428"/>
                </a:lnTo>
                <a:lnTo>
                  <a:pt x="3821278" y="1873669"/>
                </a:lnTo>
                <a:lnTo>
                  <a:pt x="5902084" y="1873669"/>
                </a:lnTo>
                <a:lnTo>
                  <a:pt x="5902084" y="2023428"/>
                </a:lnTo>
                <a:close/>
                <a:moveTo>
                  <a:pt x="5902071" y="1399197"/>
                </a:moveTo>
                <a:lnTo>
                  <a:pt x="3405111" y="1399197"/>
                </a:lnTo>
                <a:lnTo>
                  <a:pt x="3405111" y="1249439"/>
                </a:lnTo>
                <a:lnTo>
                  <a:pt x="5902071" y="1249439"/>
                </a:lnTo>
                <a:lnTo>
                  <a:pt x="5902071" y="1399197"/>
                </a:lnTo>
                <a:close/>
                <a:moveTo>
                  <a:pt x="5902071" y="774954"/>
                </a:moveTo>
                <a:lnTo>
                  <a:pt x="2988945" y="774954"/>
                </a:lnTo>
                <a:lnTo>
                  <a:pt x="2988945" y="625196"/>
                </a:lnTo>
                <a:lnTo>
                  <a:pt x="5902071" y="625196"/>
                </a:lnTo>
                <a:lnTo>
                  <a:pt x="5902071" y="774954"/>
                </a:lnTo>
                <a:close/>
              </a:path>
            </a:pathLst>
          </a:custGeom>
          <a:solidFill>
            <a:schemeClr val="tx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defTabSz="685934" hangingPunct="0">
              <a:lnSpc>
                <a:spcPts val="1500"/>
              </a:lnSpc>
              <a:defRPr/>
            </a:pPr>
            <a:endParaRPr lang="en-US" sz="1600" kern="0" dirty="0">
              <a:solidFill>
                <a:srgbClr val="000000"/>
              </a:solidFill>
              <a:latin typeface="IBM Plex Sans Regular"/>
              <a:cs typeface="Arial"/>
              <a:sym typeface="IBM Plex Sans Light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9B6DCC2-6239-084F-A7CC-D78CE2551F36}"/>
              </a:ext>
            </a:extLst>
          </p:cNvPr>
          <p:cNvSpPr txBox="1"/>
          <p:nvPr/>
        </p:nvSpPr>
        <p:spPr>
          <a:xfrm>
            <a:off x="9477217" y="4455333"/>
            <a:ext cx="2286000" cy="107721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Circular</a:t>
            </a:r>
          </a:p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Supply Chains </a:t>
            </a:r>
          </a:p>
          <a:p>
            <a:pPr defTabSz="914622" hangingPunct="0">
              <a:lnSpc>
                <a:spcPts val="1500"/>
              </a:lnSpc>
              <a:spcBef>
                <a:spcPts val="900"/>
              </a:spcBef>
              <a:defRPr/>
            </a:pPr>
            <a:r>
              <a:rPr lang="en-US" sz="1467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Intelligent workflows</a:t>
            </a:r>
            <a:r>
              <a:rPr lang="en-US" sz="1467" kern="0" dirty="0">
                <a:solidFill>
                  <a:srgbClr val="FF644E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 </a:t>
            </a:r>
            <a:br>
              <a:rPr lang="en-US" sz="1467" kern="0" dirty="0">
                <a:solidFill>
                  <a:srgbClr val="FF644E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</a:br>
            <a:r>
              <a:rPr lang="en-US" sz="1467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for equitable, transparent, </a:t>
            </a:r>
            <a:br>
              <a:rPr lang="en-US" sz="1467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</a:br>
            <a:r>
              <a:rPr lang="en-US" sz="1467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and net zero supply chains</a:t>
            </a:r>
          </a:p>
        </p:txBody>
      </p:sp>
      <p:sp>
        <p:nvSpPr>
          <p:cNvPr id="45" name="Freeform 42">
            <a:extLst>
              <a:ext uri="{FF2B5EF4-FFF2-40B4-BE49-F238E27FC236}">
                <a16:creationId xmlns:a16="http://schemas.microsoft.com/office/drawing/2014/main" id="{9EFF22D8-4CA3-F948-B531-FEB74C094E6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772760" y="3582948"/>
            <a:ext cx="675928" cy="675768"/>
          </a:xfrm>
          <a:custGeom>
            <a:avLst/>
            <a:gdLst>
              <a:gd name="T0" fmla="*/ 610 w 2241"/>
              <a:gd name="T1" fmla="*/ 2241 h 2241"/>
              <a:gd name="T2" fmla="*/ 584 w 2241"/>
              <a:gd name="T3" fmla="*/ 1949 h 2241"/>
              <a:gd name="T4" fmla="*/ 0 w 2241"/>
              <a:gd name="T5" fmla="*/ 1923 h 2241"/>
              <a:gd name="T6" fmla="*/ 26 w 2241"/>
              <a:gd name="T7" fmla="*/ 292 h 2241"/>
              <a:gd name="T8" fmla="*/ 584 w 2241"/>
              <a:gd name="T9" fmla="*/ 26 h 2241"/>
              <a:gd name="T10" fmla="*/ 1631 w 2241"/>
              <a:gd name="T11" fmla="*/ 0 h 2241"/>
              <a:gd name="T12" fmla="*/ 1657 w 2241"/>
              <a:gd name="T13" fmla="*/ 292 h 2241"/>
              <a:gd name="T14" fmla="*/ 2241 w 2241"/>
              <a:gd name="T15" fmla="*/ 318 h 2241"/>
              <a:gd name="T16" fmla="*/ 2215 w 2241"/>
              <a:gd name="T17" fmla="*/ 1949 h 2241"/>
              <a:gd name="T18" fmla="*/ 1657 w 2241"/>
              <a:gd name="T19" fmla="*/ 2214 h 2241"/>
              <a:gd name="T20" fmla="*/ 636 w 2241"/>
              <a:gd name="T21" fmla="*/ 2188 h 2241"/>
              <a:gd name="T22" fmla="*/ 1605 w 2241"/>
              <a:gd name="T23" fmla="*/ 52 h 2241"/>
              <a:gd name="T24" fmla="*/ 636 w 2241"/>
              <a:gd name="T25" fmla="*/ 2188 h 2241"/>
              <a:gd name="T26" fmla="*/ 2189 w 2241"/>
              <a:gd name="T27" fmla="*/ 1896 h 2241"/>
              <a:gd name="T28" fmla="*/ 1657 w 2241"/>
              <a:gd name="T29" fmla="*/ 344 h 2241"/>
              <a:gd name="T30" fmla="*/ 1923 w 2241"/>
              <a:gd name="T31" fmla="*/ 510 h 2241"/>
              <a:gd name="T32" fmla="*/ 1657 w 2241"/>
              <a:gd name="T33" fmla="*/ 563 h 2241"/>
              <a:gd name="T34" fmla="*/ 1923 w 2241"/>
              <a:gd name="T35" fmla="*/ 729 h 2241"/>
              <a:gd name="T36" fmla="*/ 1657 w 2241"/>
              <a:gd name="T37" fmla="*/ 782 h 2241"/>
              <a:gd name="T38" fmla="*/ 1923 w 2241"/>
              <a:gd name="T39" fmla="*/ 948 h 2241"/>
              <a:gd name="T40" fmla="*/ 1657 w 2241"/>
              <a:gd name="T41" fmla="*/ 1001 h 2241"/>
              <a:gd name="T42" fmla="*/ 53 w 2241"/>
              <a:gd name="T43" fmla="*/ 1896 h 2241"/>
              <a:gd name="T44" fmla="*/ 584 w 2241"/>
              <a:gd name="T45" fmla="*/ 1001 h 2241"/>
              <a:gd name="T46" fmla="*/ 318 w 2241"/>
              <a:gd name="T47" fmla="*/ 948 h 2241"/>
              <a:gd name="T48" fmla="*/ 584 w 2241"/>
              <a:gd name="T49" fmla="*/ 782 h 2241"/>
              <a:gd name="T50" fmla="*/ 318 w 2241"/>
              <a:gd name="T51" fmla="*/ 729 h 2241"/>
              <a:gd name="T52" fmla="*/ 584 w 2241"/>
              <a:gd name="T53" fmla="*/ 563 h 2241"/>
              <a:gd name="T54" fmla="*/ 318 w 2241"/>
              <a:gd name="T55" fmla="*/ 510 h 2241"/>
              <a:gd name="T56" fmla="*/ 584 w 2241"/>
              <a:gd name="T57" fmla="*/ 344 h 2241"/>
              <a:gd name="T58" fmla="*/ 53 w 2241"/>
              <a:gd name="T59" fmla="*/ 1896 h 2241"/>
              <a:gd name="T60" fmla="*/ 829 w 2241"/>
              <a:gd name="T61" fmla="*/ 709 h 2241"/>
              <a:gd name="T62" fmla="*/ 1412 w 2241"/>
              <a:gd name="T63" fmla="*/ 656 h 2241"/>
              <a:gd name="T64" fmla="*/ 1412 w 2241"/>
              <a:gd name="T65" fmla="*/ 490 h 2241"/>
              <a:gd name="T66" fmla="*/ 829 w 2241"/>
              <a:gd name="T67" fmla="*/ 437 h 2241"/>
              <a:gd name="T68" fmla="*/ 1412 w 2241"/>
              <a:gd name="T69" fmla="*/ 490 h 2241"/>
              <a:gd name="T70" fmla="*/ 829 w 2241"/>
              <a:gd name="T71" fmla="*/ 271 h 2241"/>
              <a:gd name="T72" fmla="*/ 1412 w 2241"/>
              <a:gd name="T73" fmla="*/ 219 h 2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241" h="2241">
                <a:moveTo>
                  <a:pt x="1631" y="2241"/>
                </a:moveTo>
                <a:cubicBezTo>
                  <a:pt x="610" y="2241"/>
                  <a:pt x="610" y="2241"/>
                  <a:pt x="610" y="2241"/>
                </a:cubicBezTo>
                <a:cubicBezTo>
                  <a:pt x="595" y="2241"/>
                  <a:pt x="584" y="2229"/>
                  <a:pt x="584" y="2214"/>
                </a:cubicBezTo>
                <a:cubicBezTo>
                  <a:pt x="584" y="1949"/>
                  <a:pt x="584" y="1949"/>
                  <a:pt x="584" y="1949"/>
                </a:cubicBezTo>
                <a:cubicBezTo>
                  <a:pt x="26" y="1949"/>
                  <a:pt x="26" y="1949"/>
                  <a:pt x="26" y="1949"/>
                </a:cubicBezTo>
                <a:cubicBezTo>
                  <a:pt x="12" y="1949"/>
                  <a:pt x="0" y="1937"/>
                  <a:pt x="0" y="1923"/>
                </a:cubicBezTo>
                <a:cubicBezTo>
                  <a:pt x="0" y="318"/>
                  <a:pt x="0" y="318"/>
                  <a:pt x="0" y="318"/>
                </a:cubicBezTo>
                <a:cubicBezTo>
                  <a:pt x="0" y="303"/>
                  <a:pt x="12" y="292"/>
                  <a:pt x="26" y="292"/>
                </a:cubicBezTo>
                <a:cubicBezTo>
                  <a:pt x="584" y="292"/>
                  <a:pt x="584" y="292"/>
                  <a:pt x="584" y="292"/>
                </a:cubicBezTo>
                <a:cubicBezTo>
                  <a:pt x="584" y="26"/>
                  <a:pt x="584" y="26"/>
                  <a:pt x="584" y="26"/>
                </a:cubicBezTo>
                <a:cubicBezTo>
                  <a:pt x="584" y="12"/>
                  <a:pt x="595" y="0"/>
                  <a:pt x="610" y="0"/>
                </a:cubicBezTo>
                <a:cubicBezTo>
                  <a:pt x="1631" y="0"/>
                  <a:pt x="1631" y="0"/>
                  <a:pt x="1631" y="0"/>
                </a:cubicBezTo>
                <a:cubicBezTo>
                  <a:pt x="1646" y="0"/>
                  <a:pt x="1657" y="12"/>
                  <a:pt x="1657" y="26"/>
                </a:cubicBezTo>
                <a:cubicBezTo>
                  <a:pt x="1657" y="292"/>
                  <a:pt x="1657" y="292"/>
                  <a:pt x="1657" y="292"/>
                </a:cubicBezTo>
                <a:cubicBezTo>
                  <a:pt x="2215" y="292"/>
                  <a:pt x="2215" y="292"/>
                  <a:pt x="2215" y="292"/>
                </a:cubicBezTo>
                <a:cubicBezTo>
                  <a:pt x="2229" y="292"/>
                  <a:pt x="2241" y="303"/>
                  <a:pt x="2241" y="318"/>
                </a:cubicBezTo>
                <a:cubicBezTo>
                  <a:pt x="2241" y="1923"/>
                  <a:pt x="2241" y="1923"/>
                  <a:pt x="2241" y="1923"/>
                </a:cubicBezTo>
                <a:cubicBezTo>
                  <a:pt x="2241" y="1937"/>
                  <a:pt x="2229" y="1949"/>
                  <a:pt x="2215" y="1949"/>
                </a:cubicBezTo>
                <a:cubicBezTo>
                  <a:pt x="1657" y="1949"/>
                  <a:pt x="1657" y="1949"/>
                  <a:pt x="1657" y="1949"/>
                </a:cubicBezTo>
                <a:cubicBezTo>
                  <a:pt x="1657" y="2214"/>
                  <a:pt x="1657" y="2214"/>
                  <a:pt x="1657" y="2214"/>
                </a:cubicBezTo>
                <a:cubicBezTo>
                  <a:pt x="1657" y="2229"/>
                  <a:pt x="1646" y="2241"/>
                  <a:pt x="1631" y="2241"/>
                </a:cubicBezTo>
                <a:close/>
                <a:moveTo>
                  <a:pt x="636" y="2188"/>
                </a:moveTo>
                <a:cubicBezTo>
                  <a:pt x="1605" y="2188"/>
                  <a:pt x="1605" y="2188"/>
                  <a:pt x="1605" y="2188"/>
                </a:cubicBezTo>
                <a:cubicBezTo>
                  <a:pt x="1605" y="52"/>
                  <a:pt x="1605" y="52"/>
                  <a:pt x="1605" y="52"/>
                </a:cubicBezTo>
                <a:cubicBezTo>
                  <a:pt x="636" y="52"/>
                  <a:pt x="636" y="52"/>
                  <a:pt x="636" y="52"/>
                </a:cubicBezTo>
                <a:lnTo>
                  <a:pt x="636" y="2188"/>
                </a:lnTo>
                <a:close/>
                <a:moveTo>
                  <a:pt x="1657" y="1896"/>
                </a:moveTo>
                <a:cubicBezTo>
                  <a:pt x="2189" y="1896"/>
                  <a:pt x="2189" y="1896"/>
                  <a:pt x="2189" y="1896"/>
                </a:cubicBezTo>
                <a:cubicBezTo>
                  <a:pt x="2189" y="344"/>
                  <a:pt x="2189" y="344"/>
                  <a:pt x="2189" y="344"/>
                </a:cubicBezTo>
                <a:cubicBezTo>
                  <a:pt x="1657" y="344"/>
                  <a:pt x="1657" y="344"/>
                  <a:pt x="1657" y="344"/>
                </a:cubicBezTo>
                <a:cubicBezTo>
                  <a:pt x="1657" y="510"/>
                  <a:pt x="1657" y="510"/>
                  <a:pt x="1657" y="510"/>
                </a:cubicBezTo>
                <a:cubicBezTo>
                  <a:pt x="1923" y="510"/>
                  <a:pt x="1923" y="510"/>
                  <a:pt x="1923" y="510"/>
                </a:cubicBezTo>
                <a:cubicBezTo>
                  <a:pt x="1923" y="563"/>
                  <a:pt x="1923" y="563"/>
                  <a:pt x="1923" y="563"/>
                </a:cubicBezTo>
                <a:cubicBezTo>
                  <a:pt x="1657" y="563"/>
                  <a:pt x="1657" y="563"/>
                  <a:pt x="1657" y="563"/>
                </a:cubicBezTo>
                <a:cubicBezTo>
                  <a:pt x="1657" y="729"/>
                  <a:pt x="1657" y="729"/>
                  <a:pt x="1657" y="729"/>
                </a:cubicBezTo>
                <a:cubicBezTo>
                  <a:pt x="1923" y="729"/>
                  <a:pt x="1923" y="729"/>
                  <a:pt x="1923" y="729"/>
                </a:cubicBezTo>
                <a:cubicBezTo>
                  <a:pt x="1923" y="782"/>
                  <a:pt x="1923" y="782"/>
                  <a:pt x="1923" y="782"/>
                </a:cubicBezTo>
                <a:cubicBezTo>
                  <a:pt x="1657" y="782"/>
                  <a:pt x="1657" y="782"/>
                  <a:pt x="1657" y="782"/>
                </a:cubicBezTo>
                <a:cubicBezTo>
                  <a:pt x="1657" y="948"/>
                  <a:pt x="1657" y="948"/>
                  <a:pt x="1657" y="948"/>
                </a:cubicBezTo>
                <a:cubicBezTo>
                  <a:pt x="1923" y="948"/>
                  <a:pt x="1923" y="948"/>
                  <a:pt x="1923" y="948"/>
                </a:cubicBezTo>
                <a:cubicBezTo>
                  <a:pt x="1923" y="1001"/>
                  <a:pt x="1923" y="1001"/>
                  <a:pt x="1923" y="1001"/>
                </a:cubicBezTo>
                <a:cubicBezTo>
                  <a:pt x="1657" y="1001"/>
                  <a:pt x="1657" y="1001"/>
                  <a:pt x="1657" y="1001"/>
                </a:cubicBezTo>
                <a:lnTo>
                  <a:pt x="1657" y="1896"/>
                </a:lnTo>
                <a:close/>
                <a:moveTo>
                  <a:pt x="53" y="1896"/>
                </a:moveTo>
                <a:cubicBezTo>
                  <a:pt x="584" y="1896"/>
                  <a:pt x="584" y="1896"/>
                  <a:pt x="584" y="1896"/>
                </a:cubicBezTo>
                <a:cubicBezTo>
                  <a:pt x="584" y="1001"/>
                  <a:pt x="584" y="1001"/>
                  <a:pt x="584" y="1001"/>
                </a:cubicBezTo>
                <a:cubicBezTo>
                  <a:pt x="318" y="1001"/>
                  <a:pt x="318" y="1001"/>
                  <a:pt x="318" y="1001"/>
                </a:cubicBezTo>
                <a:cubicBezTo>
                  <a:pt x="318" y="948"/>
                  <a:pt x="318" y="948"/>
                  <a:pt x="318" y="948"/>
                </a:cubicBezTo>
                <a:cubicBezTo>
                  <a:pt x="584" y="948"/>
                  <a:pt x="584" y="948"/>
                  <a:pt x="584" y="948"/>
                </a:cubicBezTo>
                <a:cubicBezTo>
                  <a:pt x="584" y="782"/>
                  <a:pt x="584" y="782"/>
                  <a:pt x="584" y="782"/>
                </a:cubicBezTo>
                <a:cubicBezTo>
                  <a:pt x="318" y="782"/>
                  <a:pt x="318" y="782"/>
                  <a:pt x="318" y="782"/>
                </a:cubicBezTo>
                <a:cubicBezTo>
                  <a:pt x="318" y="729"/>
                  <a:pt x="318" y="729"/>
                  <a:pt x="318" y="729"/>
                </a:cubicBezTo>
                <a:cubicBezTo>
                  <a:pt x="584" y="729"/>
                  <a:pt x="584" y="729"/>
                  <a:pt x="584" y="729"/>
                </a:cubicBezTo>
                <a:cubicBezTo>
                  <a:pt x="584" y="563"/>
                  <a:pt x="584" y="563"/>
                  <a:pt x="584" y="563"/>
                </a:cubicBezTo>
                <a:cubicBezTo>
                  <a:pt x="318" y="563"/>
                  <a:pt x="318" y="563"/>
                  <a:pt x="318" y="563"/>
                </a:cubicBezTo>
                <a:cubicBezTo>
                  <a:pt x="318" y="510"/>
                  <a:pt x="318" y="510"/>
                  <a:pt x="318" y="510"/>
                </a:cubicBezTo>
                <a:cubicBezTo>
                  <a:pt x="584" y="510"/>
                  <a:pt x="584" y="510"/>
                  <a:pt x="584" y="510"/>
                </a:cubicBezTo>
                <a:cubicBezTo>
                  <a:pt x="584" y="344"/>
                  <a:pt x="584" y="344"/>
                  <a:pt x="584" y="344"/>
                </a:cubicBezTo>
                <a:cubicBezTo>
                  <a:pt x="53" y="344"/>
                  <a:pt x="53" y="344"/>
                  <a:pt x="53" y="344"/>
                </a:cubicBezTo>
                <a:lnTo>
                  <a:pt x="53" y="1896"/>
                </a:lnTo>
                <a:close/>
                <a:moveTo>
                  <a:pt x="1412" y="709"/>
                </a:moveTo>
                <a:cubicBezTo>
                  <a:pt x="829" y="709"/>
                  <a:pt x="829" y="709"/>
                  <a:pt x="829" y="709"/>
                </a:cubicBezTo>
                <a:cubicBezTo>
                  <a:pt x="829" y="656"/>
                  <a:pt x="829" y="656"/>
                  <a:pt x="829" y="656"/>
                </a:cubicBezTo>
                <a:cubicBezTo>
                  <a:pt x="1412" y="656"/>
                  <a:pt x="1412" y="656"/>
                  <a:pt x="1412" y="656"/>
                </a:cubicBezTo>
                <a:lnTo>
                  <a:pt x="1412" y="709"/>
                </a:lnTo>
                <a:close/>
                <a:moveTo>
                  <a:pt x="1412" y="490"/>
                </a:moveTo>
                <a:cubicBezTo>
                  <a:pt x="829" y="490"/>
                  <a:pt x="829" y="490"/>
                  <a:pt x="829" y="490"/>
                </a:cubicBezTo>
                <a:cubicBezTo>
                  <a:pt x="829" y="437"/>
                  <a:pt x="829" y="437"/>
                  <a:pt x="829" y="437"/>
                </a:cubicBezTo>
                <a:cubicBezTo>
                  <a:pt x="1412" y="437"/>
                  <a:pt x="1412" y="437"/>
                  <a:pt x="1412" y="437"/>
                </a:cubicBezTo>
                <a:lnTo>
                  <a:pt x="1412" y="490"/>
                </a:lnTo>
                <a:close/>
                <a:moveTo>
                  <a:pt x="1412" y="271"/>
                </a:moveTo>
                <a:cubicBezTo>
                  <a:pt x="829" y="271"/>
                  <a:pt x="829" y="271"/>
                  <a:pt x="829" y="271"/>
                </a:cubicBezTo>
                <a:cubicBezTo>
                  <a:pt x="829" y="219"/>
                  <a:pt x="829" y="219"/>
                  <a:pt x="829" y="219"/>
                </a:cubicBezTo>
                <a:cubicBezTo>
                  <a:pt x="1412" y="219"/>
                  <a:pt x="1412" y="219"/>
                  <a:pt x="1412" y="219"/>
                </a:cubicBezTo>
                <a:lnTo>
                  <a:pt x="1412" y="271"/>
                </a:lnTo>
                <a:close/>
              </a:path>
            </a:pathLst>
          </a:custGeom>
          <a:solidFill>
            <a:schemeClr val="tx1"/>
          </a:solidFill>
          <a:ln w="12700"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622" hangingPunct="0">
              <a:lnSpc>
                <a:spcPts val="1500"/>
              </a:lnSpc>
              <a:defRPr/>
            </a:pPr>
            <a:endParaRPr lang="uk-UA" sz="2400" kern="0">
              <a:solidFill>
                <a:srgbClr val="000000"/>
              </a:solidFill>
              <a:latin typeface="IBM Plex Sans Regular"/>
              <a:cs typeface="Arial"/>
              <a:sym typeface="IBM Plex Sans Light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C9C0BC76-B03D-7443-916E-C0FF3A69DA5A}"/>
              </a:ext>
            </a:extLst>
          </p:cNvPr>
          <p:cNvSpPr txBox="1"/>
          <p:nvPr/>
        </p:nvSpPr>
        <p:spPr>
          <a:xfrm>
            <a:off x="6749321" y="4455333"/>
            <a:ext cx="2423160" cy="107721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Resilient </a:t>
            </a:r>
          </a:p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IT Infrastructure</a:t>
            </a:r>
          </a:p>
          <a:p>
            <a:pPr defTabSz="914622" hangingPunct="0">
              <a:lnSpc>
                <a:spcPts val="1500"/>
              </a:lnSpc>
              <a:spcBef>
                <a:spcPts val="900"/>
              </a:spcBef>
              <a:defRPr/>
            </a:pPr>
            <a:r>
              <a:rPr lang="en-US" sz="1467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Responsible computing to enable sustainable IT and drive social impact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41494B44-FA19-A44F-86F8-0150F76F80BA}"/>
              </a:ext>
            </a:extLst>
          </p:cNvPr>
          <p:cNvCxnSpPr>
            <a:cxnSpLocks/>
          </p:cNvCxnSpPr>
          <p:nvPr/>
        </p:nvCxnSpPr>
        <p:spPr bwMode="auto">
          <a:xfrm>
            <a:off x="6444584" y="3570673"/>
            <a:ext cx="0" cy="210312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20254B5A-9C0B-6DC7-9739-192004FD15F3}"/>
              </a:ext>
            </a:extLst>
          </p:cNvPr>
          <p:cNvGrpSpPr/>
          <p:nvPr/>
        </p:nvGrpSpPr>
        <p:grpSpPr>
          <a:xfrm>
            <a:off x="3608617" y="1102411"/>
            <a:ext cx="8177347" cy="5001376"/>
            <a:chOff x="7463246" y="2204822"/>
            <a:chExt cx="15727680" cy="10002752"/>
          </a:xfrm>
        </p:grpSpPr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140CCADA-FA7B-0F77-748C-77DEBA8C0F27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7463246" y="12207574"/>
              <a:ext cx="15727680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BC71924C-081F-B47A-B5EA-EB539DC6B4E4}"/>
                </a:ext>
              </a:extLst>
            </p:cNvPr>
            <p:cNvGrpSpPr/>
            <p:nvPr/>
          </p:nvGrpSpPr>
          <p:grpSpPr>
            <a:xfrm>
              <a:off x="7463246" y="2204822"/>
              <a:ext cx="15727680" cy="4516352"/>
              <a:chOff x="7463246" y="2204822"/>
              <a:chExt cx="15727680" cy="4516352"/>
            </a:xfrm>
          </p:grpSpPr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D9F57BCD-32D3-FA4C-AF06-CBFA2AD44D4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7463246" y="6721174"/>
                <a:ext cx="15727680" cy="0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1"/>
                </a:solidFill>
                <a:prstDash val="solid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F9E93FE-CE4A-F046-8CB1-00340856B2F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7463246" y="2204822"/>
                <a:ext cx="15727680" cy="0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1"/>
                </a:solidFill>
                <a:prstDash val="solid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1D126BED-CBCB-314B-B75C-3C34A85D03F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7463246" y="4461286"/>
                <a:ext cx="15727680" cy="0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1"/>
                </a:solidFill>
                <a:prstDash val="solid"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F477A04F-7F0F-EA47-94B8-1D7886F41539}"/>
              </a:ext>
            </a:extLst>
          </p:cNvPr>
          <p:cNvSpPr txBox="1"/>
          <p:nvPr/>
        </p:nvSpPr>
        <p:spPr>
          <a:xfrm>
            <a:off x="3771876" y="4455333"/>
            <a:ext cx="2651760" cy="1077218"/>
          </a:xfrm>
          <a:prstGeom prst="rect">
            <a:avLst/>
          </a:prstGeom>
          <a:noFill/>
        </p:spPr>
        <p:txBody>
          <a:bodyPr wrap="square" lIns="121920" tIns="0" rIns="0" bIns="0">
            <a:spAutoFit/>
          </a:bodyPr>
          <a:lstStyle/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Intelligent </a:t>
            </a:r>
          </a:p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Facilities and Assets</a:t>
            </a:r>
          </a:p>
          <a:p>
            <a:pPr defTabSz="914622" hangingPunct="0">
              <a:lnSpc>
                <a:spcPts val="1500"/>
              </a:lnSpc>
              <a:spcBef>
                <a:spcPts val="900"/>
              </a:spcBef>
              <a:defRPr/>
            </a:pPr>
            <a:r>
              <a:rPr lang="en-US" sz="1467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Operational insight to drive</a:t>
            </a:r>
          </a:p>
          <a:p>
            <a:pPr defTabSz="914622" hangingPunct="0">
              <a:lnSpc>
                <a:spcPts val="1500"/>
              </a:lnSpc>
              <a:defRPr/>
            </a:pPr>
            <a:r>
              <a:rPr lang="en-US" sz="1467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clean energy transition, efficient waste management 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F1BD60F3-8A4B-0E4F-8C6C-6B00D396D7A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97569" y="3582948"/>
            <a:ext cx="675768" cy="674792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C13F4A0A-899B-9CBE-C4A6-F407791B8A9E}"/>
              </a:ext>
            </a:extLst>
          </p:cNvPr>
          <p:cNvSpPr txBox="1"/>
          <p:nvPr/>
        </p:nvSpPr>
        <p:spPr>
          <a:xfrm>
            <a:off x="3854429" y="1284235"/>
            <a:ext cx="2590155" cy="584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defTabSz="914622" hangingPunct="0">
              <a:defRPr/>
            </a:pPr>
            <a:r>
              <a:rPr lang="en-US" sz="1600" kern="0" dirty="0">
                <a:solidFill>
                  <a:srgbClr val="FFFFFF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Aligned Business </a:t>
            </a:r>
          </a:p>
          <a:p>
            <a:pPr defTabSz="914622" hangingPunct="0">
              <a:defRPr/>
            </a:pPr>
            <a:r>
              <a:rPr lang="en-US" sz="1600" kern="0" dirty="0">
                <a:solidFill>
                  <a:srgbClr val="FFFFFF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Strategy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B20926E-267F-8CC7-C17C-85F59DC0EFCF}"/>
              </a:ext>
            </a:extLst>
          </p:cNvPr>
          <p:cNvSpPr txBox="1"/>
          <p:nvPr/>
        </p:nvSpPr>
        <p:spPr>
          <a:xfrm>
            <a:off x="3854427" y="2433767"/>
            <a:ext cx="2327586" cy="830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defTabSz="914622" hangingPunct="0"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ESG Data, Reporting, and Climate Risk Managemen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122B6B2-5D24-C6CD-6799-2A21EEF9F1D2}"/>
              </a:ext>
            </a:extLst>
          </p:cNvPr>
          <p:cNvSpPr/>
          <p:nvPr/>
        </p:nvSpPr>
        <p:spPr bwMode="auto">
          <a:xfrm>
            <a:off x="6535237" y="1325450"/>
            <a:ext cx="5085264" cy="434863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1219139" hangingPunct="0">
              <a:lnSpc>
                <a:spcPts val="1500"/>
              </a:lnSpc>
            </a:pPr>
            <a:r>
              <a:rPr lang="en-US" sz="1600" kern="0" dirty="0">
                <a:solidFill>
                  <a:srgbClr val="FFFFFF"/>
                </a:solidFill>
                <a:latin typeface="IBM Plex Sans Light"/>
                <a:sym typeface="IBM Plex Sans Light"/>
              </a:rPr>
              <a:t>Organization, operating model, culture, data and tech strategy to drive innovation across business and society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A3DA1B1-602E-FC63-C625-853DB150575E}"/>
              </a:ext>
            </a:extLst>
          </p:cNvPr>
          <p:cNvSpPr/>
          <p:nvPr/>
        </p:nvSpPr>
        <p:spPr bwMode="auto">
          <a:xfrm>
            <a:off x="6535237" y="2474982"/>
            <a:ext cx="4892040" cy="434863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1219139" hangingPunct="0">
              <a:lnSpc>
                <a:spcPts val="1500"/>
              </a:lnSpc>
            </a:pPr>
            <a:r>
              <a:rPr lang="en-US" sz="1600" kern="0" dirty="0">
                <a:solidFill>
                  <a:srgbClr val="000000"/>
                </a:solidFill>
                <a:latin typeface="IBM Plex Sans Light"/>
                <a:sym typeface="IBM Plex Sans Light"/>
              </a:rPr>
              <a:t>System of record to operationalize sustainability goals and environmental intelligenc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6FFC32F7-23DB-6E4C-85B4-0007836A8BD5}"/>
              </a:ext>
            </a:extLst>
          </p:cNvPr>
          <p:cNvSpPr txBox="1">
            <a:spLocks/>
          </p:cNvSpPr>
          <p:nvPr/>
        </p:nvSpPr>
        <p:spPr>
          <a:xfrm>
            <a:off x="280422" y="268227"/>
            <a:ext cx="3137695" cy="442976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5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2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68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en-US" dirty="0"/>
              <a:t>Define sustainability goals, demonstrate progress to your investors, trading partners, employees and clients</a:t>
            </a:r>
          </a:p>
        </p:txBody>
      </p:sp>
    </p:spTree>
    <p:extLst>
      <p:ext uri="{BB962C8B-B14F-4D97-AF65-F5344CB8AC3E}">
        <p14:creationId xmlns:p14="http://schemas.microsoft.com/office/powerpoint/2010/main" val="4157617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C6E58C57-8F4D-755E-2EAF-D675D0585C09}"/>
              </a:ext>
            </a:extLst>
          </p:cNvPr>
          <p:cNvSpPr/>
          <p:nvPr/>
        </p:nvSpPr>
        <p:spPr>
          <a:xfrm>
            <a:off x="3608617" y="2272626"/>
            <a:ext cx="8218711" cy="1036181"/>
          </a:xfrm>
          <a:prstGeom prst="rect">
            <a:avLst/>
          </a:prstGeom>
          <a:solidFill>
            <a:srgbClr val="0F62FD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ctr" defTabSz="412750" hangingPunct="0"/>
            <a:r>
              <a:rPr lang="en-US" sz="1600" kern="0" dirty="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rPr>
              <a:t> </a:t>
            </a:r>
          </a:p>
          <a:p>
            <a:pPr algn="ctr" defTabSz="412750" hangingPunct="0"/>
            <a:endParaRPr lang="en-US" sz="160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  <a:p>
            <a:pPr algn="ctr" defTabSz="412750" hangingPunct="0"/>
            <a:endParaRPr lang="en-US" sz="160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  <a:p>
            <a:pPr algn="ctr" defTabSz="412750" hangingPunct="0"/>
            <a:endParaRPr lang="en-US" sz="160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5E6C207-B970-2C48-9E2C-982E3DEDB214}"/>
              </a:ext>
            </a:extLst>
          </p:cNvPr>
          <p:cNvCxnSpPr>
            <a:cxnSpLocks/>
          </p:cNvCxnSpPr>
          <p:nvPr/>
        </p:nvCxnSpPr>
        <p:spPr bwMode="auto">
          <a:xfrm>
            <a:off x="9174845" y="3570673"/>
            <a:ext cx="0" cy="210312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51" name="Graphic 69">
            <a:extLst>
              <a:ext uri="{FF2B5EF4-FFF2-40B4-BE49-F238E27FC236}">
                <a16:creationId xmlns:a16="http://schemas.microsoft.com/office/drawing/2014/main" id="{C1103746-D918-C646-A3F9-067418A3BFAD}"/>
              </a:ext>
            </a:extLst>
          </p:cNvPr>
          <p:cNvSpPr>
            <a:spLocks noChangeAspect="1"/>
          </p:cNvSpPr>
          <p:nvPr/>
        </p:nvSpPr>
        <p:spPr>
          <a:xfrm>
            <a:off x="9477217" y="3627225"/>
            <a:ext cx="750307" cy="543016"/>
          </a:xfrm>
          <a:custGeom>
            <a:avLst/>
            <a:gdLst>
              <a:gd name="connsiteX0" fmla="*/ 5277828 w 6393180"/>
              <a:gd name="connsiteY0" fmla="*/ 5144630 h 5144770"/>
              <a:gd name="connsiteX1" fmla="*/ 4582668 w 6393180"/>
              <a:gd name="connsiteY1" fmla="*/ 4520388 h 5144770"/>
              <a:gd name="connsiteX2" fmla="*/ 2019465 w 6393180"/>
              <a:gd name="connsiteY2" fmla="*/ 4520388 h 5144770"/>
              <a:gd name="connsiteX3" fmla="*/ 1324305 w 6393180"/>
              <a:gd name="connsiteY3" fmla="*/ 5144630 h 5144770"/>
              <a:gd name="connsiteX4" fmla="*/ 629145 w 6393180"/>
              <a:gd name="connsiteY4" fmla="*/ 4520388 h 5144770"/>
              <a:gd name="connsiteX5" fmla="*/ 491985 w 6393180"/>
              <a:gd name="connsiteY5" fmla="*/ 4520388 h 5144770"/>
              <a:gd name="connsiteX6" fmla="*/ 953 w 6393180"/>
              <a:gd name="connsiteY6" fmla="*/ 4029354 h 5144770"/>
              <a:gd name="connsiteX7" fmla="*/ 953 w 6393180"/>
              <a:gd name="connsiteY7" fmla="*/ 2572791 h 5144770"/>
              <a:gd name="connsiteX8" fmla="*/ 11621 w 6393180"/>
              <a:gd name="connsiteY8" fmla="*/ 2534285 h 5144770"/>
              <a:gd name="connsiteX9" fmla="*/ 851967 w 6393180"/>
              <a:gd name="connsiteY9" fmla="*/ 1078738 h 5144770"/>
              <a:gd name="connsiteX10" fmla="*/ 916788 w 6393180"/>
              <a:gd name="connsiteY10" fmla="*/ 1041349 h 5144770"/>
              <a:gd name="connsiteX11" fmla="*/ 2497912 w 6393180"/>
              <a:gd name="connsiteY11" fmla="*/ 1041349 h 5144770"/>
              <a:gd name="connsiteX12" fmla="*/ 2497912 w 6393180"/>
              <a:gd name="connsiteY12" fmla="*/ 75832 h 5144770"/>
              <a:gd name="connsiteX13" fmla="*/ 2572791 w 6393180"/>
              <a:gd name="connsiteY13" fmla="*/ 953 h 5144770"/>
              <a:gd name="connsiteX14" fmla="*/ 6318238 w 6393180"/>
              <a:gd name="connsiteY14" fmla="*/ 953 h 5144770"/>
              <a:gd name="connsiteX15" fmla="*/ 6393117 w 6393180"/>
              <a:gd name="connsiteY15" fmla="*/ 75832 h 5144770"/>
              <a:gd name="connsiteX16" fmla="*/ 6393117 w 6393180"/>
              <a:gd name="connsiteY16" fmla="*/ 4445508 h 5144770"/>
              <a:gd name="connsiteX17" fmla="*/ 6318238 w 6393180"/>
              <a:gd name="connsiteY17" fmla="*/ 4520388 h 5144770"/>
              <a:gd name="connsiteX18" fmla="*/ 5973001 w 6393180"/>
              <a:gd name="connsiteY18" fmla="*/ 4520388 h 5144770"/>
              <a:gd name="connsiteX19" fmla="*/ 5277828 w 6393180"/>
              <a:gd name="connsiteY19" fmla="*/ 5144630 h 5144770"/>
              <a:gd name="connsiteX20" fmla="*/ 5277828 w 6393180"/>
              <a:gd name="connsiteY20" fmla="*/ 3896157 h 5144770"/>
              <a:gd name="connsiteX21" fmla="*/ 4728464 w 6393180"/>
              <a:gd name="connsiteY21" fmla="*/ 4445521 h 5144770"/>
              <a:gd name="connsiteX22" fmla="*/ 5277828 w 6393180"/>
              <a:gd name="connsiteY22" fmla="*/ 4994885 h 5144770"/>
              <a:gd name="connsiteX23" fmla="*/ 5827192 w 6393180"/>
              <a:gd name="connsiteY23" fmla="*/ 4445521 h 5144770"/>
              <a:gd name="connsiteX24" fmla="*/ 5277828 w 6393180"/>
              <a:gd name="connsiteY24" fmla="*/ 3896157 h 5144770"/>
              <a:gd name="connsiteX25" fmla="*/ 1324318 w 6393180"/>
              <a:gd name="connsiteY25" fmla="*/ 3896157 h 5144770"/>
              <a:gd name="connsiteX26" fmla="*/ 774954 w 6393180"/>
              <a:gd name="connsiteY26" fmla="*/ 4445521 h 5144770"/>
              <a:gd name="connsiteX27" fmla="*/ 1324318 w 6393180"/>
              <a:gd name="connsiteY27" fmla="*/ 4994885 h 5144770"/>
              <a:gd name="connsiteX28" fmla="*/ 1873682 w 6393180"/>
              <a:gd name="connsiteY28" fmla="*/ 4445521 h 5144770"/>
              <a:gd name="connsiteX29" fmla="*/ 1324318 w 6393180"/>
              <a:gd name="connsiteY29" fmla="*/ 3896157 h 5144770"/>
              <a:gd name="connsiteX30" fmla="*/ 5972988 w 6393180"/>
              <a:gd name="connsiteY30" fmla="*/ 4370629 h 5144770"/>
              <a:gd name="connsiteX31" fmla="*/ 6243346 w 6393180"/>
              <a:gd name="connsiteY31" fmla="*/ 4370629 h 5144770"/>
              <a:gd name="connsiteX32" fmla="*/ 6243346 w 6393180"/>
              <a:gd name="connsiteY32" fmla="*/ 150711 h 5144770"/>
              <a:gd name="connsiteX33" fmla="*/ 2647671 w 6393180"/>
              <a:gd name="connsiteY33" fmla="*/ 150711 h 5144770"/>
              <a:gd name="connsiteX34" fmla="*/ 2647671 w 6393180"/>
              <a:gd name="connsiteY34" fmla="*/ 4370629 h 5144770"/>
              <a:gd name="connsiteX35" fmla="*/ 4582668 w 6393180"/>
              <a:gd name="connsiteY35" fmla="*/ 4370629 h 5144770"/>
              <a:gd name="connsiteX36" fmla="*/ 5277828 w 6393180"/>
              <a:gd name="connsiteY36" fmla="*/ 3746386 h 5144770"/>
              <a:gd name="connsiteX37" fmla="*/ 5972988 w 6393180"/>
              <a:gd name="connsiteY37" fmla="*/ 4370629 h 5144770"/>
              <a:gd name="connsiteX38" fmla="*/ 2019465 w 6393180"/>
              <a:gd name="connsiteY38" fmla="*/ 4370629 h 5144770"/>
              <a:gd name="connsiteX39" fmla="*/ 2497912 w 6393180"/>
              <a:gd name="connsiteY39" fmla="*/ 4370629 h 5144770"/>
              <a:gd name="connsiteX40" fmla="*/ 2497912 w 6393180"/>
              <a:gd name="connsiteY40" fmla="*/ 2647671 h 5144770"/>
              <a:gd name="connsiteX41" fmla="*/ 150711 w 6393180"/>
              <a:gd name="connsiteY41" fmla="*/ 2647671 h 5144770"/>
              <a:gd name="connsiteX42" fmla="*/ 150711 w 6393180"/>
              <a:gd name="connsiteY42" fmla="*/ 4029354 h 5144770"/>
              <a:gd name="connsiteX43" fmla="*/ 491985 w 6393180"/>
              <a:gd name="connsiteY43" fmla="*/ 4370629 h 5144770"/>
              <a:gd name="connsiteX44" fmla="*/ 629145 w 6393180"/>
              <a:gd name="connsiteY44" fmla="*/ 4370629 h 5144770"/>
              <a:gd name="connsiteX45" fmla="*/ 1324305 w 6393180"/>
              <a:gd name="connsiteY45" fmla="*/ 3746386 h 5144770"/>
              <a:gd name="connsiteX46" fmla="*/ 2019465 w 6393180"/>
              <a:gd name="connsiteY46" fmla="*/ 4370629 h 5144770"/>
              <a:gd name="connsiteX47" fmla="*/ 2023428 w 6393180"/>
              <a:gd name="connsiteY47" fmla="*/ 2497912 h 5144770"/>
              <a:gd name="connsiteX48" fmla="*/ 2497912 w 6393180"/>
              <a:gd name="connsiteY48" fmla="*/ 2497912 h 5144770"/>
              <a:gd name="connsiteX49" fmla="*/ 2497912 w 6393180"/>
              <a:gd name="connsiteY49" fmla="*/ 1191108 h 5144770"/>
              <a:gd name="connsiteX50" fmla="*/ 2023428 w 6393180"/>
              <a:gd name="connsiteY50" fmla="*/ 1191108 h 5144770"/>
              <a:gd name="connsiteX51" fmla="*/ 2023428 w 6393180"/>
              <a:gd name="connsiteY51" fmla="*/ 2497912 h 5144770"/>
              <a:gd name="connsiteX52" fmla="*/ 205575 w 6393180"/>
              <a:gd name="connsiteY52" fmla="*/ 2497912 h 5144770"/>
              <a:gd name="connsiteX53" fmla="*/ 1873669 w 6393180"/>
              <a:gd name="connsiteY53" fmla="*/ 2497912 h 5144770"/>
              <a:gd name="connsiteX54" fmla="*/ 1873669 w 6393180"/>
              <a:gd name="connsiteY54" fmla="*/ 1191108 h 5144770"/>
              <a:gd name="connsiteX55" fmla="*/ 960069 w 6393180"/>
              <a:gd name="connsiteY55" fmla="*/ 1191108 h 5144770"/>
              <a:gd name="connsiteX56" fmla="*/ 205575 w 6393180"/>
              <a:gd name="connsiteY56" fmla="*/ 2497912 h 5144770"/>
              <a:gd name="connsiteX57" fmla="*/ 2156638 w 6393180"/>
              <a:gd name="connsiteY57" fmla="*/ 3063837 h 5144770"/>
              <a:gd name="connsiteX58" fmla="*/ 1740472 w 6393180"/>
              <a:gd name="connsiteY58" fmla="*/ 3063837 h 5144770"/>
              <a:gd name="connsiteX59" fmla="*/ 1740472 w 6393180"/>
              <a:gd name="connsiteY59" fmla="*/ 2914079 h 5144770"/>
              <a:gd name="connsiteX60" fmla="*/ 2156638 w 6393180"/>
              <a:gd name="connsiteY60" fmla="*/ 2914079 h 5144770"/>
              <a:gd name="connsiteX61" fmla="*/ 2156638 w 6393180"/>
              <a:gd name="connsiteY61" fmla="*/ 3063837 h 5144770"/>
              <a:gd name="connsiteX62" fmla="*/ 5902071 w 6393180"/>
              <a:gd name="connsiteY62" fmla="*/ 2647671 h 5144770"/>
              <a:gd name="connsiteX63" fmla="*/ 4237432 w 6393180"/>
              <a:gd name="connsiteY63" fmla="*/ 2647671 h 5144770"/>
              <a:gd name="connsiteX64" fmla="*/ 4237432 w 6393180"/>
              <a:gd name="connsiteY64" fmla="*/ 2497912 h 5144770"/>
              <a:gd name="connsiteX65" fmla="*/ 5902071 w 6393180"/>
              <a:gd name="connsiteY65" fmla="*/ 2497912 h 5144770"/>
              <a:gd name="connsiteX66" fmla="*/ 5902071 w 6393180"/>
              <a:gd name="connsiteY66" fmla="*/ 2647671 h 5144770"/>
              <a:gd name="connsiteX67" fmla="*/ 5902071 w 6393180"/>
              <a:gd name="connsiteY67" fmla="*/ 2023428 h 5144770"/>
              <a:gd name="connsiteX68" fmla="*/ 3821278 w 6393180"/>
              <a:gd name="connsiteY68" fmla="*/ 2023428 h 5144770"/>
              <a:gd name="connsiteX69" fmla="*/ 3821278 w 6393180"/>
              <a:gd name="connsiteY69" fmla="*/ 1873669 h 5144770"/>
              <a:gd name="connsiteX70" fmla="*/ 5902084 w 6393180"/>
              <a:gd name="connsiteY70" fmla="*/ 1873669 h 5144770"/>
              <a:gd name="connsiteX71" fmla="*/ 5902084 w 6393180"/>
              <a:gd name="connsiteY71" fmla="*/ 2023428 h 5144770"/>
              <a:gd name="connsiteX72" fmla="*/ 5902071 w 6393180"/>
              <a:gd name="connsiteY72" fmla="*/ 1399197 h 5144770"/>
              <a:gd name="connsiteX73" fmla="*/ 3405111 w 6393180"/>
              <a:gd name="connsiteY73" fmla="*/ 1399197 h 5144770"/>
              <a:gd name="connsiteX74" fmla="*/ 3405111 w 6393180"/>
              <a:gd name="connsiteY74" fmla="*/ 1249439 h 5144770"/>
              <a:gd name="connsiteX75" fmla="*/ 5902071 w 6393180"/>
              <a:gd name="connsiteY75" fmla="*/ 1249439 h 5144770"/>
              <a:gd name="connsiteX76" fmla="*/ 5902071 w 6393180"/>
              <a:gd name="connsiteY76" fmla="*/ 1399197 h 5144770"/>
              <a:gd name="connsiteX77" fmla="*/ 5902071 w 6393180"/>
              <a:gd name="connsiteY77" fmla="*/ 774954 h 5144770"/>
              <a:gd name="connsiteX78" fmla="*/ 2988945 w 6393180"/>
              <a:gd name="connsiteY78" fmla="*/ 774954 h 5144770"/>
              <a:gd name="connsiteX79" fmla="*/ 2988945 w 6393180"/>
              <a:gd name="connsiteY79" fmla="*/ 625196 h 5144770"/>
              <a:gd name="connsiteX80" fmla="*/ 5902071 w 6393180"/>
              <a:gd name="connsiteY80" fmla="*/ 625196 h 5144770"/>
              <a:gd name="connsiteX81" fmla="*/ 5902071 w 6393180"/>
              <a:gd name="connsiteY81" fmla="*/ 774954 h 5144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</a:cxnLst>
            <a:rect l="l" t="t" r="r" b="b"/>
            <a:pathLst>
              <a:path w="6393180" h="5144770">
                <a:moveTo>
                  <a:pt x="5277828" y="5144630"/>
                </a:moveTo>
                <a:cubicBezTo>
                  <a:pt x="4917656" y="5144630"/>
                  <a:pt x="4620159" y="4870819"/>
                  <a:pt x="4582668" y="4520388"/>
                </a:cubicBezTo>
                <a:lnTo>
                  <a:pt x="2019465" y="4520388"/>
                </a:lnTo>
                <a:cubicBezTo>
                  <a:pt x="1981975" y="4870806"/>
                  <a:pt x="1684490" y="5144630"/>
                  <a:pt x="1324305" y="5144630"/>
                </a:cubicBezTo>
                <a:cubicBezTo>
                  <a:pt x="964121" y="5144630"/>
                  <a:pt x="666636" y="4870819"/>
                  <a:pt x="629145" y="4520388"/>
                </a:cubicBezTo>
                <a:lnTo>
                  <a:pt x="491985" y="4520388"/>
                </a:lnTo>
                <a:cubicBezTo>
                  <a:pt x="221221" y="4520400"/>
                  <a:pt x="953" y="4300119"/>
                  <a:pt x="953" y="4029354"/>
                </a:cubicBezTo>
                <a:lnTo>
                  <a:pt x="953" y="2572791"/>
                </a:lnTo>
                <a:cubicBezTo>
                  <a:pt x="953" y="2558669"/>
                  <a:pt x="4813" y="2545461"/>
                  <a:pt x="11621" y="2534285"/>
                </a:cubicBezTo>
                <a:lnTo>
                  <a:pt x="851967" y="1078738"/>
                </a:lnTo>
                <a:cubicBezTo>
                  <a:pt x="865276" y="1055573"/>
                  <a:pt x="890067" y="1041349"/>
                  <a:pt x="916788" y="1041349"/>
                </a:cubicBezTo>
                <a:lnTo>
                  <a:pt x="2497912" y="1041349"/>
                </a:lnTo>
                <a:lnTo>
                  <a:pt x="2497912" y="75832"/>
                </a:lnTo>
                <a:cubicBezTo>
                  <a:pt x="2497912" y="34481"/>
                  <a:pt x="2531440" y="953"/>
                  <a:pt x="2572791" y="953"/>
                </a:cubicBezTo>
                <a:lnTo>
                  <a:pt x="6318238" y="953"/>
                </a:lnTo>
                <a:cubicBezTo>
                  <a:pt x="6359589" y="953"/>
                  <a:pt x="6393117" y="34481"/>
                  <a:pt x="6393117" y="75832"/>
                </a:cubicBezTo>
                <a:lnTo>
                  <a:pt x="6393117" y="4445508"/>
                </a:lnTo>
                <a:cubicBezTo>
                  <a:pt x="6393117" y="4486859"/>
                  <a:pt x="6359589" y="4520388"/>
                  <a:pt x="6318238" y="4520388"/>
                </a:cubicBezTo>
                <a:lnTo>
                  <a:pt x="5973001" y="4520388"/>
                </a:lnTo>
                <a:cubicBezTo>
                  <a:pt x="5935498" y="4870819"/>
                  <a:pt x="5638013" y="5144630"/>
                  <a:pt x="5277828" y="5144630"/>
                </a:cubicBezTo>
                <a:close/>
                <a:moveTo>
                  <a:pt x="5277828" y="3896157"/>
                </a:moveTo>
                <a:cubicBezTo>
                  <a:pt x="4974959" y="3896157"/>
                  <a:pt x="4728464" y="4142638"/>
                  <a:pt x="4728464" y="4445521"/>
                </a:cubicBezTo>
                <a:cubicBezTo>
                  <a:pt x="4728464" y="4748403"/>
                  <a:pt x="4974946" y="4994885"/>
                  <a:pt x="5277828" y="4994885"/>
                </a:cubicBezTo>
                <a:cubicBezTo>
                  <a:pt x="5580698" y="4994885"/>
                  <a:pt x="5827192" y="4748403"/>
                  <a:pt x="5827192" y="4445521"/>
                </a:cubicBezTo>
                <a:cubicBezTo>
                  <a:pt x="5827192" y="4142638"/>
                  <a:pt x="5580710" y="3896157"/>
                  <a:pt x="5277828" y="3896157"/>
                </a:cubicBezTo>
                <a:close/>
                <a:moveTo>
                  <a:pt x="1324318" y="3896157"/>
                </a:moveTo>
                <a:cubicBezTo>
                  <a:pt x="1021448" y="3896157"/>
                  <a:pt x="774954" y="4142638"/>
                  <a:pt x="774954" y="4445521"/>
                </a:cubicBezTo>
                <a:cubicBezTo>
                  <a:pt x="774954" y="4748403"/>
                  <a:pt x="1021436" y="4994885"/>
                  <a:pt x="1324318" y="4994885"/>
                </a:cubicBezTo>
                <a:cubicBezTo>
                  <a:pt x="1627200" y="4994885"/>
                  <a:pt x="1873682" y="4748403"/>
                  <a:pt x="1873682" y="4445521"/>
                </a:cubicBezTo>
                <a:cubicBezTo>
                  <a:pt x="1873682" y="4142638"/>
                  <a:pt x="1627188" y="3896157"/>
                  <a:pt x="1324318" y="3896157"/>
                </a:cubicBezTo>
                <a:close/>
                <a:moveTo>
                  <a:pt x="5972988" y="4370629"/>
                </a:moveTo>
                <a:lnTo>
                  <a:pt x="6243346" y="4370629"/>
                </a:lnTo>
                <a:lnTo>
                  <a:pt x="6243346" y="150711"/>
                </a:lnTo>
                <a:lnTo>
                  <a:pt x="2647671" y="150711"/>
                </a:lnTo>
                <a:lnTo>
                  <a:pt x="2647671" y="4370629"/>
                </a:lnTo>
                <a:lnTo>
                  <a:pt x="4582668" y="4370629"/>
                </a:lnTo>
                <a:cubicBezTo>
                  <a:pt x="4620159" y="4020211"/>
                  <a:pt x="4917643" y="3746386"/>
                  <a:pt x="5277828" y="3746386"/>
                </a:cubicBezTo>
                <a:cubicBezTo>
                  <a:pt x="5638013" y="3746386"/>
                  <a:pt x="5935498" y="4020211"/>
                  <a:pt x="5972988" y="4370629"/>
                </a:cubicBezTo>
                <a:close/>
                <a:moveTo>
                  <a:pt x="2019465" y="4370629"/>
                </a:moveTo>
                <a:lnTo>
                  <a:pt x="2497912" y="4370629"/>
                </a:lnTo>
                <a:lnTo>
                  <a:pt x="2497912" y="2647671"/>
                </a:lnTo>
                <a:lnTo>
                  <a:pt x="150711" y="2647671"/>
                </a:lnTo>
                <a:lnTo>
                  <a:pt x="150711" y="4029354"/>
                </a:lnTo>
                <a:cubicBezTo>
                  <a:pt x="150711" y="4217518"/>
                  <a:pt x="303822" y="4370629"/>
                  <a:pt x="491985" y="4370629"/>
                </a:cubicBezTo>
                <a:lnTo>
                  <a:pt x="629145" y="4370629"/>
                </a:lnTo>
                <a:cubicBezTo>
                  <a:pt x="666636" y="4020211"/>
                  <a:pt x="964121" y="3746386"/>
                  <a:pt x="1324305" y="3746386"/>
                </a:cubicBezTo>
                <a:cubicBezTo>
                  <a:pt x="1684490" y="3746386"/>
                  <a:pt x="1981975" y="4020211"/>
                  <a:pt x="2019465" y="4370629"/>
                </a:cubicBezTo>
                <a:close/>
                <a:moveTo>
                  <a:pt x="2023428" y="2497912"/>
                </a:moveTo>
                <a:lnTo>
                  <a:pt x="2497912" y="2497912"/>
                </a:lnTo>
                <a:lnTo>
                  <a:pt x="2497912" y="1191108"/>
                </a:lnTo>
                <a:lnTo>
                  <a:pt x="2023428" y="1191108"/>
                </a:lnTo>
                <a:lnTo>
                  <a:pt x="2023428" y="2497912"/>
                </a:lnTo>
                <a:close/>
                <a:moveTo>
                  <a:pt x="205575" y="2497912"/>
                </a:moveTo>
                <a:lnTo>
                  <a:pt x="1873669" y="2497912"/>
                </a:lnTo>
                <a:lnTo>
                  <a:pt x="1873669" y="1191108"/>
                </a:lnTo>
                <a:lnTo>
                  <a:pt x="960069" y="1191108"/>
                </a:lnTo>
                <a:lnTo>
                  <a:pt x="205575" y="2497912"/>
                </a:lnTo>
                <a:close/>
                <a:moveTo>
                  <a:pt x="2156638" y="3063837"/>
                </a:moveTo>
                <a:lnTo>
                  <a:pt x="1740472" y="3063837"/>
                </a:lnTo>
                <a:lnTo>
                  <a:pt x="1740472" y="2914079"/>
                </a:lnTo>
                <a:lnTo>
                  <a:pt x="2156638" y="2914079"/>
                </a:lnTo>
                <a:lnTo>
                  <a:pt x="2156638" y="3063837"/>
                </a:lnTo>
                <a:close/>
                <a:moveTo>
                  <a:pt x="5902071" y="2647671"/>
                </a:moveTo>
                <a:lnTo>
                  <a:pt x="4237432" y="2647671"/>
                </a:lnTo>
                <a:lnTo>
                  <a:pt x="4237432" y="2497912"/>
                </a:lnTo>
                <a:lnTo>
                  <a:pt x="5902071" y="2497912"/>
                </a:lnTo>
                <a:lnTo>
                  <a:pt x="5902071" y="2647671"/>
                </a:lnTo>
                <a:close/>
                <a:moveTo>
                  <a:pt x="5902071" y="2023428"/>
                </a:moveTo>
                <a:lnTo>
                  <a:pt x="3821278" y="2023428"/>
                </a:lnTo>
                <a:lnTo>
                  <a:pt x="3821278" y="1873669"/>
                </a:lnTo>
                <a:lnTo>
                  <a:pt x="5902084" y="1873669"/>
                </a:lnTo>
                <a:lnTo>
                  <a:pt x="5902084" y="2023428"/>
                </a:lnTo>
                <a:close/>
                <a:moveTo>
                  <a:pt x="5902071" y="1399197"/>
                </a:moveTo>
                <a:lnTo>
                  <a:pt x="3405111" y="1399197"/>
                </a:lnTo>
                <a:lnTo>
                  <a:pt x="3405111" y="1249439"/>
                </a:lnTo>
                <a:lnTo>
                  <a:pt x="5902071" y="1249439"/>
                </a:lnTo>
                <a:lnTo>
                  <a:pt x="5902071" y="1399197"/>
                </a:lnTo>
                <a:close/>
                <a:moveTo>
                  <a:pt x="5902071" y="774954"/>
                </a:moveTo>
                <a:lnTo>
                  <a:pt x="2988945" y="774954"/>
                </a:lnTo>
                <a:lnTo>
                  <a:pt x="2988945" y="625196"/>
                </a:lnTo>
                <a:lnTo>
                  <a:pt x="5902071" y="625196"/>
                </a:lnTo>
                <a:lnTo>
                  <a:pt x="5902071" y="774954"/>
                </a:lnTo>
                <a:close/>
              </a:path>
            </a:pathLst>
          </a:custGeom>
          <a:solidFill>
            <a:schemeClr val="tx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defTabSz="685934" hangingPunct="0">
              <a:lnSpc>
                <a:spcPts val="1500"/>
              </a:lnSpc>
              <a:defRPr/>
            </a:pPr>
            <a:endParaRPr lang="en-US" sz="1600" kern="0" dirty="0">
              <a:solidFill>
                <a:srgbClr val="000000"/>
              </a:solidFill>
              <a:latin typeface="IBM Plex Sans Regular"/>
              <a:cs typeface="Arial"/>
              <a:sym typeface="IBM Plex Sans Light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9B6DCC2-6239-084F-A7CC-D78CE2551F36}"/>
              </a:ext>
            </a:extLst>
          </p:cNvPr>
          <p:cNvSpPr txBox="1"/>
          <p:nvPr/>
        </p:nvSpPr>
        <p:spPr>
          <a:xfrm>
            <a:off x="9477217" y="4455333"/>
            <a:ext cx="2286000" cy="107721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Circular</a:t>
            </a:r>
          </a:p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Supply Chains </a:t>
            </a:r>
          </a:p>
          <a:p>
            <a:pPr defTabSz="914622" hangingPunct="0">
              <a:lnSpc>
                <a:spcPts val="1500"/>
              </a:lnSpc>
              <a:spcBef>
                <a:spcPts val="900"/>
              </a:spcBef>
              <a:defRPr/>
            </a:pPr>
            <a:r>
              <a:rPr lang="en-US" sz="1467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Intelligent workflows</a:t>
            </a:r>
            <a:r>
              <a:rPr lang="en-US" sz="1467" kern="0" dirty="0">
                <a:solidFill>
                  <a:srgbClr val="FF644E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 </a:t>
            </a:r>
            <a:br>
              <a:rPr lang="en-US" sz="1467" kern="0" dirty="0">
                <a:solidFill>
                  <a:srgbClr val="FF644E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</a:br>
            <a:r>
              <a:rPr lang="en-US" sz="1467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for equitable, transparent, </a:t>
            </a:r>
            <a:br>
              <a:rPr lang="en-US" sz="1467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</a:br>
            <a:r>
              <a:rPr lang="en-US" sz="1467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and net zero supply chains</a:t>
            </a:r>
          </a:p>
        </p:txBody>
      </p:sp>
      <p:sp>
        <p:nvSpPr>
          <p:cNvPr id="45" name="Freeform 42">
            <a:extLst>
              <a:ext uri="{FF2B5EF4-FFF2-40B4-BE49-F238E27FC236}">
                <a16:creationId xmlns:a16="http://schemas.microsoft.com/office/drawing/2014/main" id="{9EFF22D8-4CA3-F948-B531-FEB74C094E6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772760" y="3582948"/>
            <a:ext cx="675928" cy="675768"/>
          </a:xfrm>
          <a:custGeom>
            <a:avLst/>
            <a:gdLst>
              <a:gd name="T0" fmla="*/ 610 w 2241"/>
              <a:gd name="T1" fmla="*/ 2241 h 2241"/>
              <a:gd name="T2" fmla="*/ 584 w 2241"/>
              <a:gd name="T3" fmla="*/ 1949 h 2241"/>
              <a:gd name="T4" fmla="*/ 0 w 2241"/>
              <a:gd name="T5" fmla="*/ 1923 h 2241"/>
              <a:gd name="T6" fmla="*/ 26 w 2241"/>
              <a:gd name="T7" fmla="*/ 292 h 2241"/>
              <a:gd name="T8" fmla="*/ 584 w 2241"/>
              <a:gd name="T9" fmla="*/ 26 h 2241"/>
              <a:gd name="T10" fmla="*/ 1631 w 2241"/>
              <a:gd name="T11" fmla="*/ 0 h 2241"/>
              <a:gd name="T12" fmla="*/ 1657 w 2241"/>
              <a:gd name="T13" fmla="*/ 292 h 2241"/>
              <a:gd name="T14" fmla="*/ 2241 w 2241"/>
              <a:gd name="T15" fmla="*/ 318 h 2241"/>
              <a:gd name="T16" fmla="*/ 2215 w 2241"/>
              <a:gd name="T17" fmla="*/ 1949 h 2241"/>
              <a:gd name="T18" fmla="*/ 1657 w 2241"/>
              <a:gd name="T19" fmla="*/ 2214 h 2241"/>
              <a:gd name="T20" fmla="*/ 636 w 2241"/>
              <a:gd name="T21" fmla="*/ 2188 h 2241"/>
              <a:gd name="T22" fmla="*/ 1605 w 2241"/>
              <a:gd name="T23" fmla="*/ 52 h 2241"/>
              <a:gd name="T24" fmla="*/ 636 w 2241"/>
              <a:gd name="T25" fmla="*/ 2188 h 2241"/>
              <a:gd name="T26" fmla="*/ 2189 w 2241"/>
              <a:gd name="T27" fmla="*/ 1896 h 2241"/>
              <a:gd name="T28" fmla="*/ 1657 w 2241"/>
              <a:gd name="T29" fmla="*/ 344 h 2241"/>
              <a:gd name="T30" fmla="*/ 1923 w 2241"/>
              <a:gd name="T31" fmla="*/ 510 h 2241"/>
              <a:gd name="T32" fmla="*/ 1657 w 2241"/>
              <a:gd name="T33" fmla="*/ 563 h 2241"/>
              <a:gd name="T34" fmla="*/ 1923 w 2241"/>
              <a:gd name="T35" fmla="*/ 729 h 2241"/>
              <a:gd name="T36" fmla="*/ 1657 w 2241"/>
              <a:gd name="T37" fmla="*/ 782 h 2241"/>
              <a:gd name="T38" fmla="*/ 1923 w 2241"/>
              <a:gd name="T39" fmla="*/ 948 h 2241"/>
              <a:gd name="T40" fmla="*/ 1657 w 2241"/>
              <a:gd name="T41" fmla="*/ 1001 h 2241"/>
              <a:gd name="T42" fmla="*/ 53 w 2241"/>
              <a:gd name="T43" fmla="*/ 1896 h 2241"/>
              <a:gd name="T44" fmla="*/ 584 w 2241"/>
              <a:gd name="T45" fmla="*/ 1001 h 2241"/>
              <a:gd name="T46" fmla="*/ 318 w 2241"/>
              <a:gd name="T47" fmla="*/ 948 h 2241"/>
              <a:gd name="T48" fmla="*/ 584 w 2241"/>
              <a:gd name="T49" fmla="*/ 782 h 2241"/>
              <a:gd name="T50" fmla="*/ 318 w 2241"/>
              <a:gd name="T51" fmla="*/ 729 h 2241"/>
              <a:gd name="T52" fmla="*/ 584 w 2241"/>
              <a:gd name="T53" fmla="*/ 563 h 2241"/>
              <a:gd name="T54" fmla="*/ 318 w 2241"/>
              <a:gd name="T55" fmla="*/ 510 h 2241"/>
              <a:gd name="T56" fmla="*/ 584 w 2241"/>
              <a:gd name="T57" fmla="*/ 344 h 2241"/>
              <a:gd name="T58" fmla="*/ 53 w 2241"/>
              <a:gd name="T59" fmla="*/ 1896 h 2241"/>
              <a:gd name="T60" fmla="*/ 829 w 2241"/>
              <a:gd name="T61" fmla="*/ 709 h 2241"/>
              <a:gd name="T62" fmla="*/ 1412 w 2241"/>
              <a:gd name="T63" fmla="*/ 656 h 2241"/>
              <a:gd name="T64" fmla="*/ 1412 w 2241"/>
              <a:gd name="T65" fmla="*/ 490 h 2241"/>
              <a:gd name="T66" fmla="*/ 829 w 2241"/>
              <a:gd name="T67" fmla="*/ 437 h 2241"/>
              <a:gd name="T68" fmla="*/ 1412 w 2241"/>
              <a:gd name="T69" fmla="*/ 490 h 2241"/>
              <a:gd name="T70" fmla="*/ 829 w 2241"/>
              <a:gd name="T71" fmla="*/ 271 h 2241"/>
              <a:gd name="T72" fmla="*/ 1412 w 2241"/>
              <a:gd name="T73" fmla="*/ 219 h 2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241" h="2241">
                <a:moveTo>
                  <a:pt x="1631" y="2241"/>
                </a:moveTo>
                <a:cubicBezTo>
                  <a:pt x="610" y="2241"/>
                  <a:pt x="610" y="2241"/>
                  <a:pt x="610" y="2241"/>
                </a:cubicBezTo>
                <a:cubicBezTo>
                  <a:pt x="595" y="2241"/>
                  <a:pt x="584" y="2229"/>
                  <a:pt x="584" y="2214"/>
                </a:cubicBezTo>
                <a:cubicBezTo>
                  <a:pt x="584" y="1949"/>
                  <a:pt x="584" y="1949"/>
                  <a:pt x="584" y="1949"/>
                </a:cubicBezTo>
                <a:cubicBezTo>
                  <a:pt x="26" y="1949"/>
                  <a:pt x="26" y="1949"/>
                  <a:pt x="26" y="1949"/>
                </a:cubicBezTo>
                <a:cubicBezTo>
                  <a:pt x="12" y="1949"/>
                  <a:pt x="0" y="1937"/>
                  <a:pt x="0" y="1923"/>
                </a:cubicBezTo>
                <a:cubicBezTo>
                  <a:pt x="0" y="318"/>
                  <a:pt x="0" y="318"/>
                  <a:pt x="0" y="318"/>
                </a:cubicBezTo>
                <a:cubicBezTo>
                  <a:pt x="0" y="303"/>
                  <a:pt x="12" y="292"/>
                  <a:pt x="26" y="292"/>
                </a:cubicBezTo>
                <a:cubicBezTo>
                  <a:pt x="584" y="292"/>
                  <a:pt x="584" y="292"/>
                  <a:pt x="584" y="292"/>
                </a:cubicBezTo>
                <a:cubicBezTo>
                  <a:pt x="584" y="26"/>
                  <a:pt x="584" y="26"/>
                  <a:pt x="584" y="26"/>
                </a:cubicBezTo>
                <a:cubicBezTo>
                  <a:pt x="584" y="12"/>
                  <a:pt x="595" y="0"/>
                  <a:pt x="610" y="0"/>
                </a:cubicBezTo>
                <a:cubicBezTo>
                  <a:pt x="1631" y="0"/>
                  <a:pt x="1631" y="0"/>
                  <a:pt x="1631" y="0"/>
                </a:cubicBezTo>
                <a:cubicBezTo>
                  <a:pt x="1646" y="0"/>
                  <a:pt x="1657" y="12"/>
                  <a:pt x="1657" y="26"/>
                </a:cubicBezTo>
                <a:cubicBezTo>
                  <a:pt x="1657" y="292"/>
                  <a:pt x="1657" y="292"/>
                  <a:pt x="1657" y="292"/>
                </a:cubicBezTo>
                <a:cubicBezTo>
                  <a:pt x="2215" y="292"/>
                  <a:pt x="2215" y="292"/>
                  <a:pt x="2215" y="292"/>
                </a:cubicBezTo>
                <a:cubicBezTo>
                  <a:pt x="2229" y="292"/>
                  <a:pt x="2241" y="303"/>
                  <a:pt x="2241" y="318"/>
                </a:cubicBezTo>
                <a:cubicBezTo>
                  <a:pt x="2241" y="1923"/>
                  <a:pt x="2241" y="1923"/>
                  <a:pt x="2241" y="1923"/>
                </a:cubicBezTo>
                <a:cubicBezTo>
                  <a:pt x="2241" y="1937"/>
                  <a:pt x="2229" y="1949"/>
                  <a:pt x="2215" y="1949"/>
                </a:cubicBezTo>
                <a:cubicBezTo>
                  <a:pt x="1657" y="1949"/>
                  <a:pt x="1657" y="1949"/>
                  <a:pt x="1657" y="1949"/>
                </a:cubicBezTo>
                <a:cubicBezTo>
                  <a:pt x="1657" y="2214"/>
                  <a:pt x="1657" y="2214"/>
                  <a:pt x="1657" y="2214"/>
                </a:cubicBezTo>
                <a:cubicBezTo>
                  <a:pt x="1657" y="2229"/>
                  <a:pt x="1646" y="2241"/>
                  <a:pt x="1631" y="2241"/>
                </a:cubicBezTo>
                <a:close/>
                <a:moveTo>
                  <a:pt x="636" y="2188"/>
                </a:moveTo>
                <a:cubicBezTo>
                  <a:pt x="1605" y="2188"/>
                  <a:pt x="1605" y="2188"/>
                  <a:pt x="1605" y="2188"/>
                </a:cubicBezTo>
                <a:cubicBezTo>
                  <a:pt x="1605" y="52"/>
                  <a:pt x="1605" y="52"/>
                  <a:pt x="1605" y="52"/>
                </a:cubicBezTo>
                <a:cubicBezTo>
                  <a:pt x="636" y="52"/>
                  <a:pt x="636" y="52"/>
                  <a:pt x="636" y="52"/>
                </a:cubicBezTo>
                <a:lnTo>
                  <a:pt x="636" y="2188"/>
                </a:lnTo>
                <a:close/>
                <a:moveTo>
                  <a:pt x="1657" y="1896"/>
                </a:moveTo>
                <a:cubicBezTo>
                  <a:pt x="2189" y="1896"/>
                  <a:pt x="2189" y="1896"/>
                  <a:pt x="2189" y="1896"/>
                </a:cubicBezTo>
                <a:cubicBezTo>
                  <a:pt x="2189" y="344"/>
                  <a:pt x="2189" y="344"/>
                  <a:pt x="2189" y="344"/>
                </a:cubicBezTo>
                <a:cubicBezTo>
                  <a:pt x="1657" y="344"/>
                  <a:pt x="1657" y="344"/>
                  <a:pt x="1657" y="344"/>
                </a:cubicBezTo>
                <a:cubicBezTo>
                  <a:pt x="1657" y="510"/>
                  <a:pt x="1657" y="510"/>
                  <a:pt x="1657" y="510"/>
                </a:cubicBezTo>
                <a:cubicBezTo>
                  <a:pt x="1923" y="510"/>
                  <a:pt x="1923" y="510"/>
                  <a:pt x="1923" y="510"/>
                </a:cubicBezTo>
                <a:cubicBezTo>
                  <a:pt x="1923" y="563"/>
                  <a:pt x="1923" y="563"/>
                  <a:pt x="1923" y="563"/>
                </a:cubicBezTo>
                <a:cubicBezTo>
                  <a:pt x="1657" y="563"/>
                  <a:pt x="1657" y="563"/>
                  <a:pt x="1657" y="563"/>
                </a:cubicBezTo>
                <a:cubicBezTo>
                  <a:pt x="1657" y="729"/>
                  <a:pt x="1657" y="729"/>
                  <a:pt x="1657" y="729"/>
                </a:cubicBezTo>
                <a:cubicBezTo>
                  <a:pt x="1923" y="729"/>
                  <a:pt x="1923" y="729"/>
                  <a:pt x="1923" y="729"/>
                </a:cubicBezTo>
                <a:cubicBezTo>
                  <a:pt x="1923" y="782"/>
                  <a:pt x="1923" y="782"/>
                  <a:pt x="1923" y="782"/>
                </a:cubicBezTo>
                <a:cubicBezTo>
                  <a:pt x="1657" y="782"/>
                  <a:pt x="1657" y="782"/>
                  <a:pt x="1657" y="782"/>
                </a:cubicBezTo>
                <a:cubicBezTo>
                  <a:pt x="1657" y="948"/>
                  <a:pt x="1657" y="948"/>
                  <a:pt x="1657" y="948"/>
                </a:cubicBezTo>
                <a:cubicBezTo>
                  <a:pt x="1923" y="948"/>
                  <a:pt x="1923" y="948"/>
                  <a:pt x="1923" y="948"/>
                </a:cubicBezTo>
                <a:cubicBezTo>
                  <a:pt x="1923" y="1001"/>
                  <a:pt x="1923" y="1001"/>
                  <a:pt x="1923" y="1001"/>
                </a:cubicBezTo>
                <a:cubicBezTo>
                  <a:pt x="1657" y="1001"/>
                  <a:pt x="1657" y="1001"/>
                  <a:pt x="1657" y="1001"/>
                </a:cubicBezTo>
                <a:lnTo>
                  <a:pt x="1657" y="1896"/>
                </a:lnTo>
                <a:close/>
                <a:moveTo>
                  <a:pt x="53" y="1896"/>
                </a:moveTo>
                <a:cubicBezTo>
                  <a:pt x="584" y="1896"/>
                  <a:pt x="584" y="1896"/>
                  <a:pt x="584" y="1896"/>
                </a:cubicBezTo>
                <a:cubicBezTo>
                  <a:pt x="584" y="1001"/>
                  <a:pt x="584" y="1001"/>
                  <a:pt x="584" y="1001"/>
                </a:cubicBezTo>
                <a:cubicBezTo>
                  <a:pt x="318" y="1001"/>
                  <a:pt x="318" y="1001"/>
                  <a:pt x="318" y="1001"/>
                </a:cubicBezTo>
                <a:cubicBezTo>
                  <a:pt x="318" y="948"/>
                  <a:pt x="318" y="948"/>
                  <a:pt x="318" y="948"/>
                </a:cubicBezTo>
                <a:cubicBezTo>
                  <a:pt x="584" y="948"/>
                  <a:pt x="584" y="948"/>
                  <a:pt x="584" y="948"/>
                </a:cubicBezTo>
                <a:cubicBezTo>
                  <a:pt x="584" y="782"/>
                  <a:pt x="584" y="782"/>
                  <a:pt x="584" y="782"/>
                </a:cubicBezTo>
                <a:cubicBezTo>
                  <a:pt x="318" y="782"/>
                  <a:pt x="318" y="782"/>
                  <a:pt x="318" y="782"/>
                </a:cubicBezTo>
                <a:cubicBezTo>
                  <a:pt x="318" y="729"/>
                  <a:pt x="318" y="729"/>
                  <a:pt x="318" y="729"/>
                </a:cubicBezTo>
                <a:cubicBezTo>
                  <a:pt x="584" y="729"/>
                  <a:pt x="584" y="729"/>
                  <a:pt x="584" y="729"/>
                </a:cubicBezTo>
                <a:cubicBezTo>
                  <a:pt x="584" y="563"/>
                  <a:pt x="584" y="563"/>
                  <a:pt x="584" y="563"/>
                </a:cubicBezTo>
                <a:cubicBezTo>
                  <a:pt x="318" y="563"/>
                  <a:pt x="318" y="563"/>
                  <a:pt x="318" y="563"/>
                </a:cubicBezTo>
                <a:cubicBezTo>
                  <a:pt x="318" y="510"/>
                  <a:pt x="318" y="510"/>
                  <a:pt x="318" y="510"/>
                </a:cubicBezTo>
                <a:cubicBezTo>
                  <a:pt x="584" y="510"/>
                  <a:pt x="584" y="510"/>
                  <a:pt x="584" y="510"/>
                </a:cubicBezTo>
                <a:cubicBezTo>
                  <a:pt x="584" y="344"/>
                  <a:pt x="584" y="344"/>
                  <a:pt x="584" y="344"/>
                </a:cubicBezTo>
                <a:cubicBezTo>
                  <a:pt x="53" y="344"/>
                  <a:pt x="53" y="344"/>
                  <a:pt x="53" y="344"/>
                </a:cubicBezTo>
                <a:lnTo>
                  <a:pt x="53" y="1896"/>
                </a:lnTo>
                <a:close/>
                <a:moveTo>
                  <a:pt x="1412" y="709"/>
                </a:moveTo>
                <a:cubicBezTo>
                  <a:pt x="829" y="709"/>
                  <a:pt x="829" y="709"/>
                  <a:pt x="829" y="709"/>
                </a:cubicBezTo>
                <a:cubicBezTo>
                  <a:pt x="829" y="656"/>
                  <a:pt x="829" y="656"/>
                  <a:pt x="829" y="656"/>
                </a:cubicBezTo>
                <a:cubicBezTo>
                  <a:pt x="1412" y="656"/>
                  <a:pt x="1412" y="656"/>
                  <a:pt x="1412" y="656"/>
                </a:cubicBezTo>
                <a:lnTo>
                  <a:pt x="1412" y="709"/>
                </a:lnTo>
                <a:close/>
                <a:moveTo>
                  <a:pt x="1412" y="490"/>
                </a:moveTo>
                <a:cubicBezTo>
                  <a:pt x="829" y="490"/>
                  <a:pt x="829" y="490"/>
                  <a:pt x="829" y="490"/>
                </a:cubicBezTo>
                <a:cubicBezTo>
                  <a:pt x="829" y="437"/>
                  <a:pt x="829" y="437"/>
                  <a:pt x="829" y="437"/>
                </a:cubicBezTo>
                <a:cubicBezTo>
                  <a:pt x="1412" y="437"/>
                  <a:pt x="1412" y="437"/>
                  <a:pt x="1412" y="437"/>
                </a:cubicBezTo>
                <a:lnTo>
                  <a:pt x="1412" y="490"/>
                </a:lnTo>
                <a:close/>
                <a:moveTo>
                  <a:pt x="1412" y="271"/>
                </a:moveTo>
                <a:cubicBezTo>
                  <a:pt x="829" y="271"/>
                  <a:pt x="829" y="271"/>
                  <a:pt x="829" y="271"/>
                </a:cubicBezTo>
                <a:cubicBezTo>
                  <a:pt x="829" y="219"/>
                  <a:pt x="829" y="219"/>
                  <a:pt x="829" y="219"/>
                </a:cubicBezTo>
                <a:cubicBezTo>
                  <a:pt x="1412" y="219"/>
                  <a:pt x="1412" y="219"/>
                  <a:pt x="1412" y="219"/>
                </a:cubicBezTo>
                <a:lnTo>
                  <a:pt x="1412" y="271"/>
                </a:lnTo>
                <a:close/>
              </a:path>
            </a:pathLst>
          </a:custGeom>
          <a:solidFill>
            <a:schemeClr val="tx1"/>
          </a:solidFill>
          <a:ln w="12700"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622" hangingPunct="0">
              <a:lnSpc>
                <a:spcPts val="1500"/>
              </a:lnSpc>
              <a:defRPr/>
            </a:pPr>
            <a:endParaRPr lang="uk-UA" sz="2400" kern="0">
              <a:solidFill>
                <a:srgbClr val="000000"/>
              </a:solidFill>
              <a:latin typeface="IBM Plex Sans Regular"/>
              <a:cs typeface="Arial"/>
              <a:sym typeface="IBM Plex Sans Light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CC76DA7-2609-7D4B-8AE1-4C1FCA9B0171}"/>
              </a:ext>
            </a:extLst>
          </p:cNvPr>
          <p:cNvSpPr txBox="1"/>
          <p:nvPr/>
        </p:nvSpPr>
        <p:spPr>
          <a:xfrm>
            <a:off x="3854429" y="1284235"/>
            <a:ext cx="2590155" cy="584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defTabSz="914622" hangingPunct="0"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Aligned Business </a:t>
            </a:r>
          </a:p>
          <a:p>
            <a:pPr defTabSz="914622" hangingPunct="0"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Strategy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099A6AC-7609-EF46-9F8B-AFC4A34C19B9}"/>
              </a:ext>
            </a:extLst>
          </p:cNvPr>
          <p:cNvSpPr txBox="1"/>
          <p:nvPr/>
        </p:nvSpPr>
        <p:spPr>
          <a:xfrm>
            <a:off x="3854427" y="2433767"/>
            <a:ext cx="2327586" cy="830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defTabSz="914622" hangingPunct="0">
              <a:defRPr/>
            </a:pPr>
            <a:r>
              <a:rPr lang="en-US" sz="1600" kern="0" dirty="0">
                <a:solidFill>
                  <a:srgbClr val="FFFFFF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ESG Data, Reporting, and Climate Risk Management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C9C0BC76-B03D-7443-916E-C0FF3A69DA5A}"/>
              </a:ext>
            </a:extLst>
          </p:cNvPr>
          <p:cNvSpPr txBox="1"/>
          <p:nvPr/>
        </p:nvSpPr>
        <p:spPr>
          <a:xfrm>
            <a:off x="6749321" y="4455333"/>
            <a:ext cx="2423160" cy="107721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Resilient </a:t>
            </a:r>
          </a:p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IT Infrastructure</a:t>
            </a:r>
          </a:p>
          <a:p>
            <a:pPr defTabSz="914622" hangingPunct="0">
              <a:lnSpc>
                <a:spcPts val="1500"/>
              </a:lnSpc>
              <a:spcBef>
                <a:spcPts val="900"/>
              </a:spcBef>
              <a:defRPr/>
            </a:pPr>
            <a:r>
              <a:rPr lang="en-US" sz="1467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Responsible computing to enable sustainable IT and drive social impact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41494B44-FA19-A44F-86F8-0150F76F80BA}"/>
              </a:ext>
            </a:extLst>
          </p:cNvPr>
          <p:cNvCxnSpPr>
            <a:cxnSpLocks/>
          </p:cNvCxnSpPr>
          <p:nvPr/>
        </p:nvCxnSpPr>
        <p:spPr bwMode="auto">
          <a:xfrm>
            <a:off x="6444584" y="3570673"/>
            <a:ext cx="0" cy="210312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20254B5A-9C0B-6DC7-9739-192004FD15F3}"/>
              </a:ext>
            </a:extLst>
          </p:cNvPr>
          <p:cNvGrpSpPr/>
          <p:nvPr/>
        </p:nvGrpSpPr>
        <p:grpSpPr>
          <a:xfrm>
            <a:off x="3608617" y="1102411"/>
            <a:ext cx="8177347" cy="5001376"/>
            <a:chOff x="7463246" y="2204822"/>
            <a:chExt cx="15727680" cy="10002752"/>
          </a:xfrm>
        </p:grpSpPr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140CCADA-FA7B-0F77-748C-77DEBA8C0F27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7463246" y="12207574"/>
              <a:ext cx="15727680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BC71924C-081F-B47A-B5EA-EB539DC6B4E4}"/>
                </a:ext>
              </a:extLst>
            </p:cNvPr>
            <p:cNvGrpSpPr/>
            <p:nvPr/>
          </p:nvGrpSpPr>
          <p:grpSpPr>
            <a:xfrm>
              <a:off x="7463246" y="2204822"/>
              <a:ext cx="15727680" cy="4516352"/>
              <a:chOff x="7463246" y="2204822"/>
              <a:chExt cx="15727680" cy="4516352"/>
            </a:xfrm>
          </p:grpSpPr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D9F57BCD-32D3-FA4C-AF06-CBFA2AD44D4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7463246" y="6721174"/>
                <a:ext cx="15727680" cy="0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1"/>
                </a:solidFill>
                <a:prstDash val="solid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F9E93FE-CE4A-F046-8CB1-00340856B2F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7463246" y="2204822"/>
                <a:ext cx="15727680" cy="0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1"/>
                </a:solidFill>
                <a:prstDash val="solid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1D126BED-CBCB-314B-B75C-3C34A85D03F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7463246" y="4461286"/>
                <a:ext cx="15727680" cy="0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1"/>
                </a:solidFill>
                <a:prstDash val="solid"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F477A04F-7F0F-EA47-94B8-1D7886F41539}"/>
              </a:ext>
            </a:extLst>
          </p:cNvPr>
          <p:cNvSpPr txBox="1"/>
          <p:nvPr/>
        </p:nvSpPr>
        <p:spPr>
          <a:xfrm>
            <a:off x="3771876" y="4455333"/>
            <a:ext cx="2651760" cy="1077218"/>
          </a:xfrm>
          <a:prstGeom prst="rect">
            <a:avLst/>
          </a:prstGeom>
          <a:noFill/>
        </p:spPr>
        <p:txBody>
          <a:bodyPr wrap="square" lIns="121920" tIns="0" rIns="0" bIns="0">
            <a:spAutoFit/>
          </a:bodyPr>
          <a:lstStyle/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Intelligent </a:t>
            </a:r>
          </a:p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Facilities and Assets</a:t>
            </a:r>
          </a:p>
          <a:p>
            <a:pPr defTabSz="914622" hangingPunct="0">
              <a:lnSpc>
                <a:spcPts val="1500"/>
              </a:lnSpc>
              <a:spcBef>
                <a:spcPts val="900"/>
              </a:spcBef>
              <a:defRPr/>
            </a:pPr>
            <a:r>
              <a:rPr lang="en-US" sz="1467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Operational insight to drive</a:t>
            </a:r>
          </a:p>
          <a:p>
            <a:pPr defTabSz="914622" hangingPunct="0">
              <a:lnSpc>
                <a:spcPts val="1500"/>
              </a:lnSpc>
              <a:defRPr/>
            </a:pPr>
            <a:r>
              <a:rPr lang="en-US" sz="1467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clean energy transition, efficient waste management 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F1BD60F3-8A4B-0E4F-8C6C-6B00D396D7A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97569" y="3582948"/>
            <a:ext cx="675768" cy="674792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5099A46F-AA20-0E39-7713-AFCAA47D95CF}"/>
              </a:ext>
            </a:extLst>
          </p:cNvPr>
          <p:cNvSpPr/>
          <p:nvPr/>
        </p:nvSpPr>
        <p:spPr bwMode="auto">
          <a:xfrm>
            <a:off x="6535237" y="1325450"/>
            <a:ext cx="5085264" cy="434863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1219139" hangingPunct="0">
              <a:lnSpc>
                <a:spcPts val="1500"/>
              </a:lnSpc>
            </a:pPr>
            <a:r>
              <a:rPr lang="en-US" sz="1600" kern="0" dirty="0">
                <a:solidFill>
                  <a:srgbClr val="000000"/>
                </a:solidFill>
                <a:latin typeface="IBM Plex Sans Light"/>
                <a:sym typeface="IBM Plex Sans Light"/>
              </a:rPr>
              <a:t>Organization, operating model, culture, data and tech strategy to drive innovation across business and society 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B94AD06-6635-064D-0E4E-B083D858073A}"/>
              </a:ext>
            </a:extLst>
          </p:cNvPr>
          <p:cNvSpPr/>
          <p:nvPr/>
        </p:nvSpPr>
        <p:spPr bwMode="auto">
          <a:xfrm>
            <a:off x="6535237" y="2474982"/>
            <a:ext cx="4892040" cy="434863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1219139" hangingPunct="0">
              <a:lnSpc>
                <a:spcPts val="1500"/>
              </a:lnSpc>
            </a:pPr>
            <a:r>
              <a:rPr lang="en-US" sz="1600" kern="0" dirty="0">
                <a:solidFill>
                  <a:srgbClr val="FFFFFF"/>
                </a:solidFill>
                <a:latin typeface="IBM Plex Sans Light"/>
                <a:sym typeface="IBM Plex Sans Light"/>
              </a:rPr>
              <a:t>System of record to operationalize sustainability goals and environmental intelligenc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EEBBD37-4E7A-1741-A0F6-85AFB72BD688}"/>
              </a:ext>
            </a:extLst>
          </p:cNvPr>
          <p:cNvSpPr txBox="1">
            <a:spLocks/>
          </p:cNvSpPr>
          <p:nvPr/>
        </p:nvSpPr>
        <p:spPr>
          <a:xfrm>
            <a:off x="280422" y="268227"/>
            <a:ext cx="3137695" cy="442976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5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2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68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defTabSz="91462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rgbClr val="000000"/>
                </a:solidFill>
                <a:latin typeface="IBM Plex Sans Light"/>
                <a:sym typeface="IBM Plex Sans Light"/>
              </a:rPr>
              <a:t>Create a single system of record for ESG data to establish a clear baseline</a:t>
            </a:r>
          </a:p>
        </p:txBody>
      </p:sp>
    </p:spTree>
    <p:extLst>
      <p:ext uri="{BB962C8B-B14F-4D97-AF65-F5344CB8AC3E}">
        <p14:creationId xmlns:p14="http://schemas.microsoft.com/office/powerpoint/2010/main" val="1887969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AC81544-969E-AF15-1DB7-463EEBC30C8A}"/>
              </a:ext>
            </a:extLst>
          </p:cNvPr>
          <p:cNvSpPr/>
          <p:nvPr/>
        </p:nvSpPr>
        <p:spPr>
          <a:xfrm>
            <a:off x="3608617" y="3421400"/>
            <a:ext cx="8218711" cy="2513509"/>
          </a:xfrm>
          <a:prstGeom prst="rect">
            <a:avLst/>
          </a:prstGeom>
          <a:solidFill>
            <a:srgbClr val="0F62FD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ctr" defTabSz="412750" hangingPunct="0"/>
            <a:endParaRPr lang="en-US" sz="160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  <a:p>
            <a:pPr algn="ctr" defTabSz="412750" hangingPunct="0"/>
            <a:endParaRPr lang="en-US" sz="160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  <a:p>
            <a:pPr algn="ctr" defTabSz="412750" hangingPunct="0"/>
            <a:endParaRPr lang="en-US" sz="160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  <a:p>
            <a:pPr algn="ctr" defTabSz="412750" hangingPunct="0"/>
            <a:endParaRPr lang="en-US" sz="160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  <a:p>
            <a:pPr algn="ctr" defTabSz="412750" hangingPunct="0"/>
            <a:endParaRPr lang="en-US" sz="160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  <a:p>
            <a:pPr algn="ctr" defTabSz="412750" hangingPunct="0"/>
            <a:endParaRPr lang="en-US" sz="160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  <a:p>
            <a:pPr algn="ctr" defTabSz="412750" hangingPunct="0"/>
            <a:endParaRPr lang="en-US" sz="160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  <a:p>
            <a:pPr algn="ctr" defTabSz="412750" hangingPunct="0"/>
            <a:endParaRPr lang="en-US" sz="160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  <a:p>
            <a:pPr algn="ctr" defTabSz="412750" hangingPunct="0"/>
            <a:endParaRPr lang="en-US" sz="160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  <a:p>
            <a:pPr algn="ctr" defTabSz="412750" hangingPunct="0"/>
            <a:endParaRPr lang="en-US" sz="160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9" name="Title 1">
            <a:extLst>
              <a:ext uri="{FF2B5EF4-FFF2-40B4-BE49-F238E27FC236}">
                <a16:creationId xmlns:a16="http://schemas.microsoft.com/office/drawing/2014/main" id="{6C400362-DE3E-9EAB-3918-A4A10B0A32F0}"/>
              </a:ext>
            </a:extLst>
          </p:cNvPr>
          <p:cNvSpPr txBox="1">
            <a:spLocks/>
          </p:cNvSpPr>
          <p:nvPr/>
        </p:nvSpPr>
        <p:spPr>
          <a:xfrm>
            <a:off x="280422" y="268227"/>
            <a:ext cx="3137695" cy="1938992"/>
          </a:xfrm>
          <a:prstGeom prst="rect">
            <a:avLst/>
          </a:prstGeom>
        </p:spPr>
        <p:txBody>
          <a:bodyPr>
            <a:sp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5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2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68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defTabSz="91462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/>
              <a:t>Connect your ESG data management with the systems that run operations to drive transformation</a:t>
            </a:r>
            <a:endParaRPr lang="en-US" sz="2133" kern="0" dirty="0">
              <a:solidFill>
                <a:srgbClr val="000000"/>
              </a:solidFill>
              <a:sym typeface="IBM Plex Sans Light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5E6C207-B970-2C48-9E2C-982E3DEDB214}"/>
              </a:ext>
            </a:extLst>
          </p:cNvPr>
          <p:cNvCxnSpPr>
            <a:cxnSpLocks/>
          </p:cNvCxnSpPr>
          <p:nvPr/>
        </p:nvCxnSpPr>
        <p:spPr bwMode="auto">
          <a:xfrm>
            <a:off x="9174845" y="3570673"/>
            <a:ext cx="0" cy="210312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51" name="Graphic 69">
            <a:extLst>
              <a:ext uri="{FF2B5EF4-FFF2-40B4-BE49-F238E27FC236}">
                <a16:creationId xmlns:a16="http://schemas.microsoft.com/office/drawing/2014/main" id="{C1103746-D918-C646-A3F9-067418A3BFAD}"/>
              </a:ext>
            </a:extLst>
          </p:cNvPr>
          <p:cNvSpPr>
            <a:spLocks noChangeAspect="1"/>
          </p:cNvSpPr>
          <p:nvPr/>
        </p:nvSpPr>
        <p:spPr>
          <a:xfrm>
            <a:off x="9477217" y="3627225"/>
            <a:ext cx="750307" cy="543016"/>
          </a:xfrm>
          <a:custGeom>
            <a:avLst/>
            <a:gdLst>
              <a:gd name="connsiteX0" fmla="*/ 5277828 w 6393180"/>
              <a:gd name="connsiteY0" fmla="*/ 5144630 h 5144770"/>
              <a:gd name="connsiteX1" fmla="*/ 4582668 w 6393180"/>
              <a:gd name="connsiteY1" fmla="*/ 4520388 h 5144770"/>
              <a:gd name="connsiteX2" fmla="*/ 2019465 w 6393180"/>
              <a:gd name="connsiteY2" fmla="*/ 4520388 h 5144770"/>
              <a:gd name="connsiteX3" fmla="*/ 1324305 w 6393180"/>
              <a:gd name="connsiteY3" fmla="*/ 5144630 h 5144770"/>
              <a:gd name="connsiteX4" fmla="*/ 629145 w 6393180"/>
              <a:gd name="connsiteY4" fmla="*/ 4520388 h 5144770"/>
              <a:gd name="connsiteX5" fmla="*/ 491985 w 6393180"/>
              <a:gd name="connsiteY5" fmla="*/ 4520388 h 5144770"/>
              <a:gd name="connsiteX6" fmla="*/ 953 w 6393180"/>
              <a:gd name="connsiteY6" fmla="*/ 4029354 h 5144770"/>
              <a:gd name="connsiteX7" fmla="*/ 953 w 6393180"/>
              <a:gd name="connsiteY7" fmla="*/ 2572791 h 5144770"/>
              <a:gd name="connsiteX8" fmla="*/ 11621 w 6393180"/>
              <a:gd name="connsiteY8" fmla="*/ 2534285 h 5144770"/>
              <a:gd name="connsiteX9" fmla="*/ 851967 w 6393180"/>
              <a:gd name="connsiteY9" fmla="*/ 1078738 h 5144770"/>
              <a:gd name="connsiteX10" fmla="*/ 916788 w 6393180"/>
              <a:gd name="connsiteY10" fmla="*/ 1041349 h 5144770"/>
              <a:gd name="connsiteX11" fmla="*/ 2497912 w 6393180"/>
              <a:gd name="connsiteY11" fmla="*/ 1041349 h 5144770"/>
              <a:gd name="connsiteX12" fmla="*/ 2497912 w 6393180"/>
              <a:gd name="connsiteY12" fmla="*/ 75832 h 5144770"/>
              <a:gd name="connsiteX13" fmla="*/ 2572791 w 6393180"/>
              <a:gd name="connsiteY13" fmla="*/ 953 h 5144770"/>
              <a:gd name="connsiteX14" fmla="*/ 6318238 w 6393180"/>
              <a:gd name="connsiteY14" fmla="*/ 953 h 5144770"/>
              <a:gd name="connsiteX15" fmla="*/ 6393117 w 6393180"/>
              <a:gd name="connsiteY15" fmla="*/ 75832 h 5144770"/>
              <a:gd name="connsiteX16" fmla="*/ 6393117 w 6393180"/>
              <a:gd name="connsiteY16" fmla="*/ 4445508 h 5144770"/>
              <a:gd name="connsiteX17" fmla="*/ 6318238 w 6393180"/>
              <a:gd name="connsiteY17" fmla="*/ 4520388 h 5144770"/>
              <a:gd name="connsiteX18" fmla="*/ 5973001 w 6393180"/>
              <a:gd name="connsiteY18" fmla="*/ 4520388 h 5144770"/>
              <a:gd name="connsiteX19" fmla="*/ 5277828 w 6393180"/>
              <a:gd name="connsiteY19" fmla="*/ 5144630 h 5144770"/>
              <a:gd name="connsiteX20" fmla="*/ 5277828 w 6393180"/>
              <a:gd name="connsiteY20" fmla="*/ 3896157 h 5144770"/>
              <a:gd name="connsiteX21" fmla="*/ 4728464 w 6393180"/>
              <a:gd name="connsiteY21" fmla="*/ 4445521 h 5144770"/>
              <a:gd name="connsiteX22" fmla="*/ 5277828 w 6393180"/>
              <a:gd name="connsiteY22" fmla="*/ 4994885 h 5144770"/>
              <a:gd name="connsiteX23" fmla="*/ 5827192 w 6393180"/>
              <a:gd name="connsiteY23" fmla="*/ 4445521 h 5144770"/>
              <a:gd name="connsiteX24" fmla="*/ 5277828 w 6393180"/>
              <a:gd name="connsiteY24" fmla="*/ 3896157 h 5144770"/>
              <a:gd name="connsiteX25" fmla="*/ 1324318 w 6393180"/>
              <a:gd name="connsiteY25" fmla="*/ 3896157 h 5144770"/>
              <a:gd name="connsiteX26" fmla="*/ 774954 w 6393180"/>
              <a:gd name="connsiteY26" fmla="*/ 4445521 h 5144770"/>
              <a:gd name="connsiteX27" fmla="*/ 1324318 w 6393180"/>
              <a:gd name="connsiteY27" fmla="*/ 4994885 h 5144770"/>
              <a:gd name="connsiteX28" fmla="*/ 1873682 w 6393180"/>
              <a:gd name="connsiteY28" fmla="*/ 4445521 h 5144770"/>
              <a:gd name="connsiteX29" fmla="*/ 1324318 w 6393180"/>
              <a:gd name="connsiteY29" fmla="*/ 3896157 h 5144770"/>
              <a:gd name="connsiteX30" fmla="*/ 5972988 w 6393180"/>
              <a:gd name="connsiteY30" fmla="*/ 4370629 h 5144770"/>
              <a:gd name="connsiteX31" fmla="*/ 6243346 w 6393180"/>
              <a:gd name="connsiteY31" fmla="*/ 4370629 h 5144770"/>
              <a:gd name="connsiteX32" fmla="*/ 6243346 w 6393180"/>
              <a:gd name="connsiteY32" fmla="*/ 150711 h 5144770"/>
              <a:gd name="connsiteX33" fmla="*/ 2647671 w 6393180"/>
              <a:gd name="connsiteY33" fmla="*/ 150711 h 5144770"/>
              <a:gd name="connsiteX34" fmla="*/ 2647671 w 6393180"/>
              <a:gd name="connsiteY34" fmla="*/ 4370629 h 5144770"/>
              <a:gd name="connsiteX35" fmla="*/ 4582668 w 6393180"/>
              <a:gd name="connsiteY35" fmla="*/ 4370629 h 5144770"/>
              <a:gd name="connsiteX36" fmla="*/ 5277828 w 6393180"/>
              <a:gd name="connsiteY36" fmla="*/ 3746386 h 5144770"/>
              <a:gd name="connsiteX37" fmla="*/ 5972988 w 6393180"/>
              <a:gd name="connsiteY37" fmla="*/ 4370629 h 5144770"/>
              <a:gd name="connsiteX38" fmla="*/ 2019465 w 6393180"/>
              <a:gd name="connsiteY38" fmla="*/ 4370629 h 5144770"/>
              <a:gd name="connsiteX39" fmla="*/ 2497912 w 6393180"/>
              <a:gd name="connsiteY39" fmla="*/ 4370629 h 5144770"/>
              <a:gd name="connsiteX40" fmla="*/ 2497912 w 6393180"/>
              <a:gd name="connsiteY40" fmla="*/ 2647671 h 5144770"/>
              <a:gd name="connsiteX41" fmla="*/ 150711 w 6393180"/>
              <a:gd name="connsiteY41" fmla="*/ 2647671 h 5144770"/>
              <a:gd name="connsiteX42" fmla="*/ 150711 w 6393180"/>
              <a:gd name="connsiteY42" fmla="*/ 4029354 h 5144770"/>
              <a:gd name="connsiteX43" fmla="*/ 491985 w 6393180"/>
              <a:gd name="connsiteY43" fmla="*/ 4370629 h 5144770"/>
              <a:gd name="connsiteX44" fmla="*/ 629145 w 6393180"/>
              <a:gd name="connsiteY44" fmla="*/ 4370629 h 5144770"/>
              <a:gd name="connsiteX45" fmla="*/ 1324305 w 6393180"/>
              <a:gd name="connsiteY45" fmla="*/ 3746386 h 5144770"/>
              <a:gd name="connsiteX46" fmla="*/ 2019465 w 6393180"/>
              <a:gd name="connsiteY46" fmla="*/ 4370629 h 5144770"/>
              <a:gd name="connsiteX47" fmla="*/ 2023428 w 6393180"/>
              <a:gd name="connsiteY47" fmla="*/ 2497912 h 5144770"/>
              <a:gd name="connsiteX48" fmla="*/ 2497912 w 6393180"/>
              <a:gd name="connsiteY48" fmla="*/ 2497912 h 5144770"/>
              <a:gd name="connsiteX49" fmla="*/ 2497912 w 6393180"/>
              <a:gd name="connsiteY49" fmla="*/ 1191108 h 5144770"/>
              <a:gd name="connsiteX50" fmla="*/ 2023428 w 6393180"/>
              <a:gd name="connsiteY50" fmla="*/ 1191108 h 5144770"/>
              <a:gd name="connsiteX51" fmla="*/ 2023428 w 6393180"/>
              <a:gd name="connsiteY51" fmla="*/ 2497912 h 5144770"/>
              <a:gd name="connsiteX52" fmla="*/ 205575 w 6393180"/>
              <a:gd name="connsiteY52" fmla="*/ 2497912 h 5144770"/>
              <a:gd name="connsiteX53" fmla="*/ 1873669 w 6393180"/>
              <a:gd name="connsiteY53" fmla="*/ 2497912 h 5144770"/>
              <a:gd name="connsiteX54" fmla="*/ 1873669 w 6393180"/>
              <a:gd name="connsiteY54" fmla="*/ 1191108 h 5144770"/>
              <a:gd name="connsiteX55" fmla="*/ 960069 w 6393180"/>
              <a:gd name="connsiteY55" fmla="*/ 1191108 h 5144770"/>
              <a:gd name="connsiteX56" fmla="*/ 205575 w 6393180"/>
              <a:gd name="connsiteY56" fmla="*/ 2497912 h 5144770"/>
              <a:gd name="connsiteX57" fmla="*/ 2156638 w 6393180"/>
              <a:gd name="connsiteY57" fmla="*/ 3063837 h 5144770"/>
              <a:gd name="connsiteX58" fmla="*/ 1740472 w 6393180"/>
              <a:gd name="connsiteY58" fmla="*/ 3063837 h 5144770"/>
              <a:gd name="connsiteX59" fmla="*/ 1740472 w 6393180"/>
              <a:gd name="connsiteY59" fmla="*/ 2914079 h 5144770"/>
              <a:gd name="connsiteX60" fmla="*/ 2156638 w 6393180"/>
              <a:gd name="connsiteY60" fmla="*/ 2914079 h 5144770"/>
              <a:gd name="connsiteX61" fmla="*/ 2156638 w 6393180"/>
              <a:gd name="connsiteY61" fmla="*/ 3063837 h 5144770"/>
              <a:gd name="connsiteX62" fmla="*/ 5902071 w 6393180"/>
              <a:gd name="connsiteY62" fmla="*/ 2647671 h 5144770"/>
              <a:gd name="connsiteX63" fmla="*/ 4237432 w 6393180"/>
              <a:gd name="connsiteY63" fmla="*/ 2647671 h 5144770"/>
              <a:gd name="connsiteX64" fmla="*/ 4237432 w 6393180"/>
              <a:gd name="connsiteY64" fmla="*/ 2497912 h 5144770"/>
              <a:gd name="connsiteX65" fmla="*/ 5902071 w 6393180"/>
              <a:gd name="connsiteY65" fmla="*/ 2497912 h 5144770"/>
              <a:gd name="connsiteX66" fmla="*/ 5902071 w 6393180"/>
              <a:gd name="connsiteY66" fmla="*/ 2647671 h 5144770"/>
              <a:gd name="connsiteX67" fmla="*/ 5902071 w 6393180"/>
              <a:gd name="connsiteY67" fmla="*/ 2023428 h 5144770"/>
              <a:gd name="connsiteX68" fmla="*/ 3821278 w 6393180"/>
              <a:gd name="connsiteY68" fmla="*/ 2023428 h 5144770"/>
              <a:gd name="connsiteX69" fmla="*/ 3821278 w 6393180"/>
              <a:gd name="connsiteY69" fmla="*/ 1873669 h 5144770"/>
              <a:gd name="connsiteX70" fmla="*/ 5902084 w 6393180"/>
              <a:gd name="connsiteY70" fmla="*/ 1873669 h 5144770"/>
              <a:gd name="connsiteX71" fmla="*/ 5902084 w 6393180"/>
              <a:gd name="connsiteY71" fmla="*/ 2023428 h 5144770"/>
              <a:gd name="connsiteX72" fmla="*/ 5902071 w 6393180"/>
              <a:gd name="connsiteY72" fmla="*/ 1399197 h 5144770"/>
              <a:gd name="connsiteX73" fmla="*/ 3405111 w 6393180"/>
              <a:gd name="connsiteY73" fmla="*/ 1399197 h 5144770"/>
              <a:gd name="connsiteX74" fmla="*/ 3405111 w 6393180"/>
              <a:gd name="connsiteY74" fmla="*/ 1249439 h 5144770"/>
              <a:gd name="connsiteX75" fmla="*/ 5902071 w 6393180"/>
              <a:gd name="connsiteY75" fmla="*/ 1249439 h 5144770"/>
              <a:gd name="connsiteX76" fmla="*/ 5902071 w 6393180"/>
              <a:gd name="connsiteY76" fmla="*/ 1399197 h 5144770"/>
              <a:gd name="connsiteX77" fmla="*/ 5902071 w 6393180"/>
              <a:gd name="connsiteY77" fmla="*/ 774954 h 5144770"/>
              <a:gd name="connsiteX78" fmla="*/ 2988945 w 6393180"/>
              <a:gd name="connsiteY78" fmla="*/ 774954 h 5144770"/>
              <a:gd name="connsiteX79" fmla="*/ 2988945 w 6393180"/>
              <a:gd name="connsiteY79" fmla="*/ 625196 h 5144770"/>
              <a:gd name="connsiteX80" fmla="*/ 5902071 w 6393180"/>
              <a:gd name="connsiteY80" fmla="*/ 625196 h 5144770"/>
              <a:gd name="connsiteX81" fmla="*/ 5902071 w 6393180"/>
              <a:gd name="connsiteY81" fmla="*/ 774954 h 5144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</a:cxnLst>
            <a:rect l="l" t="t" r="r" b="b"/>
            <a:pathLst>
              <a:path w="6393180" h="5144770">
                <a:moveTo>
                  <a:pt x="5277828" y="5144630"/>
                </a:moveTo>
                <a:cubicBezTo>
                  <a:pt x="4917656" y="5144630"/>
                  <a:pt x="4620159" y="4870819"/>
                  <a:pt x="4582668" y="4520388"/>
                </a:cubicBezTo>
                <a:lnTo>
                  <a:pt x="2019465" y="4520388"/>
                </a:lnTo>
                <a:cubicBezTo>
                  <a:pt x="1981975" y="4870806"/>
                  <a:pt x="1684490" y="5144630"/>
                  <a:pt x="1324305" y="5144630"/>
                </a:cubicBezTo>
                <a:cubicBezTo>
                  <a:pt x="964121" y="5144630"/>
                  <a:pt x="666636" y="4870819"/>
                  <a:pt x="629145" y="4520388"/>
                </a:cubicBezTo>
                <a:lnTo>
                  <a:pt x="491985" y="4520388"/>
                </a:lnTo>
                <a:cubicBezTo>
                  <a:pt x="221221" y="4520400"/>
                  <a:pt x="953" y="4300119"/>
                  <a:pt x="953" y="4029354"/>
                </a:cubicBezTo>
                <a:lnTo>
                  <a:pt x="953" y="2572791"/>
                </a:lnTo>
                <a:cubicBezTo>
                  <a:pt x="953" y="2558669"/>
                  <a:pt x="4813" y="2545461"/>
                  <a:pt x="11621" y="2534285"/>
                </a:cubicBezTo>
                <a:lnTo>
                  <a:pt x="851967" y="1078738"/>
                </a:lnTo>
                <a:cubicBezTo>
                  <a:pt x="865276" y="1055573"/>
                  <a:pt x="890067" y="1041349"/>
                  <a:pt x="916788" y="1041349"/>
                </a:cubicBezTo>
                <a:lnTo>
                  <a:pt x="2497912" y="1041349"/>
                </a:lnTo>
                <a:lnTo>
                  <a:pt x="2497912" y="75832"/>
                </a:lnTo>
                <a:cubicBezTo>
                  <a:pt x="2497912" y="34481"/>
                  <a:pt x="2531440" y="953"/>
                  <a:pt x="2572791" y="953"/>
                </a:cubicBezTo>
                <a:lnTo>
                  <a:pt x="6318238" y="953"/>
                </a:lnTo>
                <a:cubicBezTo>
                  <a:pt x="6359589" y="953"/>
                  <a:pt x="6393117" y="34481"/>
                  <a:pt x="6393117" y="75832"/>
                </a:cubicBezTo>
                <a:lnTo>
                  <a:pt x="6393117" y="4445508"/>
                </a:lnTo>
                <a:cubicBezTo>
                  <a:pt x="6393117" y="4486859"/>
                  <a:pt x="6359589" y="4520388"/>
                  <a:pt x="6318238" y="4520388"/>
                </a:cubicBezTo>
                <a:lnTo>
                  <a:pt x="5973001" y="4520388"/>
                </a:lnTo>
                <a:cubicBezTo>
                  <a:pt x="5935498" y="4870819"/>
                  <a:pt x="5638013" y="5144630"/>
                  <a:pt x="5277828" y="5144630"/>
                </a:cubicBezTo>
                <a:close/>
                <a:moveTo>
                  <a:pt x="5277828" y="3896157"/>
                </a:moveTo>
                <a:cubicBezTo>
                  <a:pt x="4974959" y="3896157"/>
                  <a:pt x="4728464" y="4142638"/>
                  <a:pt x="4728464" y="4445521"/>
                </a:cubicBezTo>
                <a:cubicBezTo>
                  <a:pt x="4728464" y="4748403"/>
                  <a:pt x="4974946" y="4994885"/>
                  <a:pt x="5277828" y="4994885"/>
                </a:cubicBezTo>
                <a:cubicBezTo>
                  <a:pt x="5580698" y="4994885"/>
                  <a:pt x="5827192" y="4748403"/>
                  <a:pt x="5827192" y="4445521"/>
                </a:cubicBezTo>
                <a:cubicBezTo>
                  <a:pt x="5827192" y="4142638"/>
                  <a:pt x="5580710" y="3896157"/>
                  <a:pt x="5277828" y="3896157"/>
                </a:cubicBezTo>
                <a:close/>
                <a:moveTo>
                  <a:pt x="1324318" y="3896157"/>
                </a:moveTo>
                <a:cubicBezTo>
                  <a:pt x="1021448" y="3896157"/>
                  <a:pt x="774954" y="4142638"/>
                  <a:pt x="774954" y="4445521"/>
                </a:cubicBezTo>
                <a:cubicBezTo>
                  <a:pt x="774954" y="4748403"/>
                  <a:pt x="1021436" y="4994885"/>
                  <a:pt x="1324318" y="4994885"/>
                </a:cubicBezTo>
                <a:cubicBezTo>
                  <a:pt x="1627200" y="4994885"/>
                  <a:pt x="1873682" y="4748403"/>
                  <a:pt x="1873682" y="4445521"/>
                </a:cubicBezTo>
                <a:cubicBezTo>
                  <a:pt x="1873682" y="4142638"/>
                  <a:pt x="1627188" y="3896157"/>
                  <a:pt x="1324318" y="3896157"/>
                </a:cubicBezTo>
                <a:close/>
                <a:moveTo>
                  <a:pt x="5972988" y="4370629"/>
                </a:moveTo>
                <a:lnTo>
                  <a:pt x="6243346" y="4370629"/>
                </a:lnTo>
                <a:lnTo>
                  <a:pt x="6243346" y="150711"/>
                </a:lnTo>
                <a:lnTo>
                  <a:pt x="2647671" y="150711"/>
                </a:lnTo>
                <a:lnTo>
                  <a:pt x="2647671" y="4370629"/>
                </a:lnTo>
                <a:lnTo>
                  <a:pt x="4582668" y="4370629"/>
                </a:lnTo>
                <a:cubicBezTo>
                  <a:pt x="4620159" y="4020211"/>
                  <a:pt x="4917643" y="3746386"/>
                  <a:pt x="5277828" y="3746386"/>
                </a:cubicBezTo>
                <a:cubicBezTo>
                  <a:pt x="5638013" y="3746386"/>
                  <a:pt x="5935498" y="4020211"/>
                  <a:pt x="5972988" y="4370629"/>
                </a:cubicBezTo>
                <a:close/>
                <a:moveTo>
                  <a:pt x="2019465" y="4370629"/>
                </a:moveTo>
                <a:lnTo>
                  <a:pt x="2497912" y="4370629"/>
                </a:lnTo>
                <a:lnTo>
                  <a:pt x="2497912" y="2647671"/>
                </a:lnTo>
                <a:lnTo>
                  <a:pt x="150711" y="2647671"/>
                </a:lnTo>
                <a:lnTo>
                  <a:pt x="150711" y="4029354"/>
                </a:lnTo>
                <a:cubicBezTo>
                  <a:pt x="150711" y="4217518"/>
                  <a:pt x="303822" y="4370629"/>
                  <a:pt x="491985" y="4370629"/>
                </a:cubicBezTo>
                <a:lnTo>
                  <a:pt x="629145" y="4370629"/>
                </a:lnTo>
                <a:cubicBezTo>
                  <a:pt x="666636" y="4020211"/>
                  <a:pt x="964121" y="3746386"/>
                  <a:pt x="1324305" y="3746386"/>
                </a:cubicBezTo>
                <a:cubicBezTo>
                  <a:pt x="1684490" y="3746386"/>
                  <a:pt x="1981975" y="4020211"/>
                  <a:pt x="2019465" y="4370629"/>
                </a:cubicBezTo>
                <a:close/>
                <a:moveTo>
                  <a:pt x="2023428" y="2497912"/>
                </a:moveTo>
                <a:lnTo>
                  <a:pt x="2497912" y="2497912"/>
                </a:lnTo>
                <a:lnTo>
                  <a:pt x="2497912" y="1191108"/>
                </a:lnTo>
                <a:lnTo>
                  <a:pt x="2023428" y="1191108"/>
                </a:lnTo>
                <a:lnTo>
                  <a:pt x="2023428" y="2497912"/>
                </a:lnTo>
                <a:close/>
                <a:moveTo>
                  <a:pt x="205575" y="2497912"/>
                </a:moveTo>
                <a:lnTo>
                  <a:pt x="1873669" y="2497912"/>
                </a:lnTo>
                <a:lnTo>
                  <a:pt x="1873669" y="1191108"/>
                </a:lnTo>
                <a:lnTo>
                  <a:pt x="960069" y="1191108"/>
                </a:lnTo>
                <a:lnTo>
                  <a:pt x="205575" y="2497912"/>
                </a:lnTo>
                <a:close/>
                <a:moveTo>
                  <a:pt x="2156638" y="3063837"/>
                </a:moveTo>
                <a:lnTo>
                  <a:pt x="1740472" y="3063837"/>
                </a:lnTo>
                <a:lnTo>
                  <a:pt x="1740472" y="2914079"/>
                </a:lnTo>
                <a:lnTo>
                  <a:pt x="2156638" y="2914079"/>
                </a:lnTo>
                <a:lnTo>
                  <a:pt x="2156638" y="3063837"/>
                </a:lnTo>
                <a:close/>
                <a:moveTo>
                  <a:pt x="5902071" y="2647671"/>
                </a:moveTo>
                <a:lnTo>
                  <a:pt x="4237432" y="2647671"/>
                </a:lnTo>
                <a:lnTo>
                  <a:pt x="4237432" y="2497912"/>
                </a:lnTo>
                <a:lnTo>
                  <a:pt x="5902071" y="2497912"/>
                </a:lnTo>
                <a:lnTo>
                  <a:pt x="5902071" y="2647671"/>
                </a:lnTo>
                <a:close/>
                <a:moveTo>
                  <a:pt x="5902071" y="2023428"/>
                </a:moveTo>
                <a:lnTo>
                  <a:pt x="3821278" y="2023428"/>
                </a:lnTo>
                <a:lnTo>
                  <a:pt x="3821278" y="1873669"/>
                </a:lnTo>
                <a:lnTo>
                  <a:pt x="5902084" y="1873669"/>
                </a:lnTo>
                <a:lnTo>
                  <a:pt x="5902084" y="2023428"/>
                </a:lnTo>
                <a:close/>
                <a:moveTo>
                  <a:pt x="5902071" y="1399197"/>
                </a:moveTo>
                <a:lnTo>
                  <a:pt x="3405111" y="1399197"/>
                </a:lnTo>
                <a:lnTo>
                  <a:pt x="3405111" y="1249439"/>
                </a:lnTo>
                <a:lnTo>
                  <a:pt x="5902071" y="1249439"/>
                </a:lnTo>
                <a:lnTo>
                  <a:pt x="5902071" y="1399197"/>
                </a:lnTo>
                <a:close/>
                <a:moveTo>
                  <a:pt x="5902071" y="774954"/>
                </a:moveTo>
                <a:lnTo>
                  <a:pt x="2988945" y="774954"/>
                </a:lnTo>
                <a:lnTo>
                  <a:pt x="2988945" y="625196"/>
                </a:lnTo>
                <a:lnTo>
                  <a:pt x="5902071" y="625196"/>
                </a:lnTo>
                <a:lnTo>
                  <a:pt x="5902071" y="774954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defTabSz="685934" hangingPunct="0">
              <a:lnSpc>
                <a:spcPts val="1500"/>
              </a:lnSpc>
              <a:defRPr/>
            </a:pPr>
            <a:endParaRPr lang="en-US" sz="1600" kern="0" dirty="0">
              <a:solidFill>
                <a:srgbClr val="000000"/>
              </a:solidFill>
              <a:latin typeface="IBM Plex Sans Regular"/>
              <a:cs typeface="Arial"/>
              <a:sym typeface="IBM Plex Sans Light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9B6DCC2-6239-084F-A7CC-D78CE2551F36}"/>
              </a:ext>
            </a:extLst>
          </p:cNvPr>
          <p:cNvSpPr txBox="1"/>
          <p:nvPr/>
        </p:nvSpPr>
        <p:spPr>
          <a:xfrm>
            <a:off x="9477217" y="4455333"/>
            <a:ext cx="2286000" cy="107721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>
                <a:solidFill>
                  <a:srgbClr val="FFFFFF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Circular</a:t>
            </a:r>
          </a:p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>
                <a:solidFill>
                  <a:srgbClr val="FFFFFF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Supply Chains </a:t>
            </a:r>
          </a:p>
          <a:p>
            <a:pPr defTabSz="914622" hangingPunct="0">
              <a:lnSpc>
                <a:spcPts val="1500"/>
              </a:lnSpc>
              <a:spcBef>
                <a:spcPts val="900"/>
              </a:spcBef>
              <a:defRPr/>
            </a:pPr>
            <a:r>
              <a:rPr lang="en-US" sz="1467" kern="0" dirty="0">
                <a:solidFill>
                  <a:srgbClr val="FFFFFF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Intelligent workflows </a:t>
            </a:r>
            <a:br>
              <a:rPr lang="en-US" sz="1467" kern="0" dirty="0">
                <a:solidFill>
                  <a:srgbClr val="FFFFFF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</a:br>
            <a:r>
              <a:rPr lang="en-US" sz="1467" kern="0" dirty="0">
                <a:solidFill>
                  <a:srgbClr val="FFFFFF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for equitable, transparent, </a:t>
            </a:r>
            <a:br>
              <a:rPr lang="en-US" sz="1467" kern="0" dirty="0">
                <a:solidFill>
                  <a:srgbClr val="FFFFFF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</a:br>
            <a:r>
              <a:rPr lang="en-US" sz="1467" kern="0" dirty="0">
                <a:solidFill>
                  <a:srgbClr val="FFFFFF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and net zero supply chain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C9C0BC76-B03D-7443-916E-C0FF3A69DA5A}"/>
              </a:ext>
            </a:extLst>
          </p:cNvPr>
          <p:cNvSpPr txBox="1"/>
          <p:nvPr/>
        </p:nvSpPr>
        <p:spPr>
          <a:xfrm>
            <a:off x="6749321" y="4455333"/>
            <a:ext cx="2423160" cy="107721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>
                <a:solidFill>
                  <a:srgbClr val="FFFFFF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Resilient </a:t>
            </a:r>
          </a:p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>
                <a:solidFill>
                  <a:srgbClr val="FFFFFF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IT Infrastructure</a:t>
            </a:r>
          </a:p>
          <a:p>
            <a:pPr defTabSz="914622" hangingPunct="0">
              <a:lnSpc>
                <a:spcPts val="1500"/>
              </a:lnSpc>
              <a:spcBef>
                <a:spcPts val="900"/>
              </a:spcBef>
              <a:defRPr/>
            </a:pPr>
            <a:r>
              <a:rPr lang="en-US" sz="1467" kern="0" dirty="0">
                <a:solidFill>
                  <a:srgbClr val="FFFFFF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Responsible computing to enable sustainable IT and drive social impact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41494B44-FA19-A44F-86F8-0150F76F80BA}"/>
              </a:ext>
            </a:extLst>
          </p:cNvPr>
          <p:cNvCxnSpPr>
            <a:cxnSpLocks/>
          </p:cNvCxnSpPr>
          <p:nvPr/>
        </p:nvCxnSpPr>
        <p:spPr bwMode="auto">
          <a:xfrm>
            <a:off x="6444584" y="3570673"/>
            <a:ext cx="0" cy="210312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20254B5A-9C0B-6DC7-9739-192004FD15F3}"/>
              </a:ext>
            </a:extLst>
          </p:cNvPr>
          <p:cNvGrpSpPr/>
          <p:nvPr/>
        </p:nvGrpSpPr>
        <p:grpSpPr>
          <a:xfrm>
            <a:off x="3608617" y="1102411"/>
            <a:ext cx="8177347" cy="5001376"/>
            <a:chOff x="7463246" y="2204822"/>
            <a:chExt cx="15727680" cy="10002752"/>
          </a:xfrm>
        </p:grpSpPr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140CCADA-FA7B-0F77-748C-77DEBA8C0F27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7463246" y="12207574"/>
              <a:ext cx="15727680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BC71924C-081F-B47A-B5EA-EB539DC6B4E4}"/>
                </a:ext>
              </a:extLst>
            </p:cNvPr>
            <p:cNvGrpSpPr/>
            <p:nvPr/>
          </p:nvGrpSpPr>
          <p:grpSpPr>
            <a:xfrm>
              <a:off x="7463246" y="2204822"/>
              <a:ext cx="15727680" cy="4516352"/>
              <a:chOff x="7463246" y="2204822"/>
              <a:chExt cx="15727680" cy="4516352"/>
            </a:xfrm>
          </p:grpSpPr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D9F57BCD-32D3-FA4C-AF06-CBFA2AD44D4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7463246" y="6721174"/>
                <a:ext cx="15727680" cy="0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1"/>
                </a:solidFill>
                <a:prstDash val="solid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F9E93FE-CE4A-F046-8CB1-00340856B2F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7463246" y="2204822"/>
                <a:ext cx="15727680" cy="0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1"/>
                </a:solidFill>
                <a:prstDash val="solid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1D126BED-CBCB-314B-B75C-3C34A85D03F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7463246" y="4461286"/>
                <a:ext cx="15727680" cy="0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1"/>
                </a:solidFill>
                <a:prstDash val="solid"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F477A04F-7F0F-EA47-94B8-1D7886F41539}"/>
              </a:ext>
            </a:extLst>
          </p:cNvPr>
          <p:cNvSpPr txBox="1"/>
          <p:nvPr/>
        </p:nvSpPr>
        <p:spPr>
          <a:xfrm>
            <a:off x="3771876" y="4455333"/>
            <a:ext cx="2651760" cy="1077218"/>
          </a:xfrm>
          <a:prstGeom prst="rect">
            <a:avLst/>
          </a:prstGeom>
          <a:noFill/>
        </p:spPr>
        <p:txBody>
          <a:bodyPr wrap="square" lIns="121920" tIns="0" rIns="0" bIns="0">
            <a:spAutoFit/>
          </a:bodyPr>
          <a:lstStyle/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>
                <a:solidFill>
                  <a:srgbClr val="FFFFFF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Intelligent </a:t>
            </a:r>
          </a:p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>
                <a:solidFill>
                  <a:srgbClr val="FFFFFF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Facilities and Assets</a:t>
            </a:r>
          </a:p>
          <a:p>
            <a:pPr defTabSz="914622" hangingPunct="0">
              <a:lnSpc>
                <a:spcPts val="1500"/>
              </a:lnSpc>
              <a:spcBef>
                <a:spcPts val="900"/>
              </a:spcBef>
              <a:defRPr/>
            </a:pPr>
            <a:r>
              <a:rPr lang="en-US" sz="1467" kern="0" dirty="0">
                <a:solidFill>
                  <a:srgbClr val="FFFFFF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Operational insight to drive</a:t>
            </a:r>
          </a:p>
          <a:p>
            <a:pPr defTabSz="914622" hangingPunct="0">
              <a:lnSpc>
                <a:spcPts val="1500"/>
              </a:lnSpc>
              <a:defRPr/>
            </a:pPr>
            <a:r>
              <a:rPr lang="en-US" sz="1467" kern="0" dirty="0">
                <a:solidFill>
                  <a:srgbClr val="FFFFFF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clean energy transition, efficient waste management 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F1BD60F3-8A4B-0E4F-8C6C-6B00D396D7A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97569" y="3582948"/>
            <a:ext cx="675768" cy="674792"/>
          </a:xfrm>
          <a:prstGeom prst="rect">
            <a:avLst/>
          </a:prstGeom>
        </p:spPr>
      </p:pic>
      <p:sp>
        <p:nvSpPr>
          <p:cNvPr id="26" name="Freeform 42">
            <a:extLst>
              <a:ext uri="{FF2B5EF4-FFF2-40B4-BE49-F238E27FC236}">
                <a16:creationId xmlns:a16="http://schemas.microsoft.com/office/drawing/2014/main" id="{4DC37CAA-F797-3CFB-C32C-D4849B16CB1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772760" y="3582948"/>
            <a:ext cx="675928" cy="675768"/>
          </a:xfrm>
          <a:custGeom>
            <a:avLst/>
            <a:gdLst>
              <a:gd name="T0" fmla="*/ 610 w 2241"/>
              <a:gd name="T1" fmla="*/ 2241 h 2241"/>
              <a:gd name="T2" fmla="*/ 584 w 2241"/>
              <a:gd name="T3" fmla="*/ 1949 h 2241"/>
              <a:gd name="T4" fmla="*/ 0 w 2241"/>
              <a:gd name="T5" fmla="*/ 1923 h 2241"/>
              <a:gd name="T6" fmla="*/ 26 w 2241"/>
              <a:gd name="T7" fmla="*/ 292 h 2241"/>
              <a:gd name="T8" fmla="*/ 584 w 2241"/>
              <a:gd name="T9" fmla="*/ 26 h 2241"/>
              <a:gd name="T10" fmla="*/ 1631 w 2241"/>
              <a:gd name="T11" fmla="*/ 0 h 2241"/>
              <a:gd name="T12" fmla="*/ 1657 w 2241"/>
              <a:gd name="T13" fmla="*/ 292 h 2241"/>
              <a:gd name="T14" fmla="*/ 2241 w 2241"/>
              <a:gd name="T15" fmla="*/ 318 h 2241"/>
              <a:gd name="T16" fmla="*/ 2215 w 2241"/>
              <a:gd name="T17" fmla="*/ 1949 h 2241"/>
              <a:gd name="T18" fmla="*/ 1657 w 2241"/>
              <a:gd name="T19" fmla="*/ 2214 h 2241"/>
              <a:gd name="T20" fmla="*/ 636 w 2241"/>
              <a:gd name="T21" fmla="*/ 2188 h 2241"/>
              <a:gd name="T22" fmla="*/ 1605 w 2241"/>
              <a:gd name="T23" fmla="*/ 52 h 2241"/>
              <a:gd name="T24" fmla="*/ 636 w 2241"/>
              <a:gd name="T25" fmla="*/ 2188 h 2241"/>
              <a:gd name="T26" fmla="*/ 2189 w 2241"/>
              <a:gd name="T27" fmla="*/ 1896 h 2241"/>
              <a:gd name="T28" fmla="*/ 1657 w 2241"/>
              <a:gd name="T29" fmla="*/ 344 h 2241"/>
              <a:gd name="T30" fmla="*/ 1923 w 2241"/>
              <a:gd name="T31" fmla="*/ 510 h 2241"/>
              <a:gd name="T32" fmla="*/ 1657 w 2241"/>
              <a:gd name="T33" fmla="*/ 563 h 2241"/>
              <a:gd name="T34" fmla="*/ 1923 w 2241"/>
              <a:gd name="T35" fmla="*/ 729 h 2241"/>
              <a:gd name="T36" fmla="*/ 1657 w 2241"/>
              <a:gd name="T37" fmla="*/ 782 h 2241"/>
              <a:gd name="T38" fmla="*/ 1923 w 2241"/>
              <a:gd name="T39" fmla="*/ 948 h 2241"/>
              <a:gd name="T40" fmla="*/ 1657 w 2241"/>
              <a:gd name="T41" fmla="*/ 1001 h 2241"/>
              <a:gd name="T42" fmla="*/ 53 w 2241"/>
              <a:gd name="T43" fmla="*/ 1896 h 2241"/>
              <a:gd name="T44" fmla="*/ 584 w 2241"/>
              <a:gd name="T45" fmla="*/ 1001 h 2241"/>
              <a:gd name="T46" fmla="*/ 318 w 2241"/>
              <a:gd name="T47" fmla="*/ 948 h 2241"/>
              <a:gd name="T48" fmla="*/ 584 w 2241"/>
              <a:gd name="T49" fmla="*/ 782 h 2241"/>
              <a:gd name="T50" fmla="*/ 318 w 2241"/>
              <a:gd name="T51" fmla="*/ 729 h 2241"/>
              <a:gd name="T52" fmla="*/ 584 w 2241"/>
              <a:gd name="T53" fmla="*/ 563 h 2241"/>
              <a:gd name="T54" fmla="*/ 318 w 2241"/>
              <a:gd name="T55" fmla="*/ 510 h 2241"/>
              <a:gd name="T56" fmla="*/ 584 w 2241"/>
              <a:gd name="T57" fmla="*/ 344 h 2241"/>
              <a:gd name="T58" fmla="*/ 53 w 2241"/>
              <a:gd name="T59" fmla="*/ 1896 h 2241"/>
              <a:gd name="T60" fmla="*/ 829 w 2241"/>
              <a:gd name="T61" fmla="*/ 709 h 2241"/>
              <a:gd name="T62" fmla="*/ 1412 w 2241"/>
              <a:gd name="T63" fmla="*/ 656 h 2241"/>
              <a:gd name="T64" fmla="*/ 1412 w 2241"/>
              <a:gd name="T65" fmla="*/ 490 h 2241"/>
              <a:gd name="T66" fmla="*/ 829 w 2241"/>
              <a:gd name="T67" fmla="*/ 437 h 2241"/>
              <a:gd name="T68" fmla="*/ 1412 w 2241"/>
              <a:gd name="T69" fmla="*/ 490 h 2241"/>
              <a:gd name="T70" fmla="*/ 829 w 2241"/>
              <a:gd name="T71" fmla="*/ 271 h 2241"/>
              <a:gd name="T72" fmla="*/ 1412 w 2241"/>
              <a:gd name="T73" fmla="*/ 219 h 2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241" h="2241">
                <a:moveTo>
                  <a:pt x="1631" y="2241"/>
                </a:moveTo>
                <a:cubicBezTo>
                  <a:pt x="610" y="2241"/>
                  <a:pt x="610" y="2241"/>
                  <a:pt x="610" y="2241"/>
                </a:cubicBezTo>
                <a:cubicBezTo>
                  <a:pt x="595" y="2241"/>
                  <a:pt x="584" y="2229"/>
                  <a:pt x="584" y="2214"/>
                </a:cubicBezTo>
                <a:cubicBezTo>
                  <a:pt x="584" y="1949"/>
                  <a:pt x="584" y="1949"/>
                  <a:pt x="584" y="1949"/>
                </a:cubicBezTo>
                <a:cubicBezTo>
                  <a:pt x="26" y="1949"/>
                  <a:pt x="26" y="1949"/>
                  <a:pt x="26" y="1949"/>
                </a:cubicBezTo>
                <a:cubicBezTo>
                  <a:pt x="12" y="1949"/>
                  <a:pt x="0" y="1937"/>
                  <a:pt x="0" y="1923"/>
                </a:cubicBezTo>
                <a:cubicBezTo>
                  <a:pt x="0" y="318"/>
                  <a:pt x="0" y="318"/>
                  <a:pt x="0" y="318"/>
                </a:cubicBezTo>
                <a:cubicBezTo>
                  <a:pt x="0" y="303"/>
                  <a:pt x="12" y="292"/>
                  <a:pt x="26" y="292"/>
                </a:cubicBezTo>
                <a:cubicBezTo>
                  <a:pt x="584" y="292"/>
                  <a:pt x="584" y="292"/>
                  <a:pt x="584" y="292"/>
                </a:cubicBezTo>
                <a:cubicBezTo>
                  <a:pt x="584" y="26"/>
                  <a:pt x="584" y="26"/>
                  <a:pt x="584" y="26"/>
                </a:cubicBezTo>
                <a:cubicBezTo>
                  <a:pt x="584" y="12"/>
                  <a:pt x="595" y="0"/>
                  <a:pt x="610" y="0"/>
                </a:cubicBezTo>
                <a:cubicBezTo>
                  <a:pt x="1631" y="0"/>
                  <a:pt x="1631" y="0"/>
                  <a:pt x="1631" y="0"/>
                </a:cubicBezTo>
                <a:cubicBezTo>
                  <a:pt x="1646" y="0"/>
                  <a:pt x="1657" y="12"/>
                  <a:pt x="1657" y="26"/>
                </a:cubicBezTo>
                <a:cubicBezTo>
                  <a:pt x="1657" y="292"/>
                  <a:pt x="1657" y="292"/>
                  <a:pt x="1657" y="292"/>
                </a:cubicBezTo>
                <a:cubicBezTo>
                  <a:pt x="2215" y="292"/>
                  <a:pt x="2215" y="292"/>
                  <a:pt x="2215" y="292"/>
                </a:cubicBezTo>
                <a:cubicBezTo>
                  <a:pt x="2229" y="292"/>
                  <a:pt x="2241" y="303"/>
                  <a:pt x="2241" y="318"/>
                </a:cubicBezTo>
                <a:cubicBezTo>
                  <a:pt x="2241" y="1923"/>
                  <a:pt x="2241" y="1923"/>
                  <a:pt x="2241" y="1923"/>
                </a:cubicBezTo>
                <a:cubicBezTo>
                  <a:pt x="2241" y="1937"/>
                  <a:pt x="2229" y="1949"/>
                  <a:pt x="2215" y="1949"/>
                </a:cubicBezTo>
                <a:cubicBezTo>
                  <a:pt x="1657" y="1949"/>
                  <a:pt x="1657" y="1949"/>
                  <a:pt x="1657" y="1949"/>
                </a:cubicBezTo>
                <a:cubicBezTo>
                  <a:pt x="1657" y="2214"/>
                  <a:pt x="1657" y="2214"/>
                  <a:pt x="1657" y="2214"/>
                </a:cubicBezTo>
                <a:cubicBezTo>
                  <a:pt x="1657" y="2229"/>
                  <a:pt x="1646" y="2241"/>
                  <a:pt x="1631" y="2241"/>
                </a:cubicBezTo>
                <a:close/>
                <a:moveTo>
                  <a:pt x="636" y="2188"/>
                </a:moveTo>
                <a:cubicBezTo>
                  <a:pt x="1605" y="2188"/>
                  <a:pt x="1605" y="2188"/>
                  <a:pt x="1605" y="2188"/>
                </a:cubicBezTo>
                <a:cubicBezTo>
                  <a:pt x="1605" y="52"/>
                  <a:pt x="1605" y="52"/>
                  <a:pt x="1605" y="52"/>
                </a:cubicBezTo>
                <a:cubicBezTo>
                  <a:pt x="636" y="52"/>
                  <a:pt x="636" y="52"/>
                  <a:pt x="636" y="52"/>
                </a:cubicBezTo>
                <a:lnTo>
                  <a:pt x="636" y="2188"/>
                </a:lnTo>
                <a:close/>
                <a:moveTo>
                  <a:pt x="1657" y="1896"/>
                </a:moveTo>
                <a:cubicBezTo>
                  <a:pt x="2189" y="1896"/>
                  <a:pt x="2189" y="1896"/>
                  <a:pt x="2189" y="1896"/>
                </a:cubicBezTo>
                <a:cubicBezTo>
                  <a:pt x="2189" y="344"/>
                  <a:pt x="2189" y="344"/>
                  <a:pt x="2189" y="344"/>
                </a:cubicBezTo>
                <a:cubicBezTo>
                  <a:pt x="1657" y="344"/>
                  <a:pt x="1657" y="344"/>
                  <a:pt x="1657" y="344"/>
                </a:cubicBezTo>
                <a:cubicBezTo>
                  <a:pt x="1657" y="510"/>
                  <a:pt x="1657" y="510"/>
                  <a:pt x="1657" y="510"/>
                </a:cubicBezTo>
                <a:cubicBezTo>
                  <a:pt x="1923" y="510"/>
                  <a:pt x="1923" y="510"/>
                  <a:pt x="1923" y="510"/>
                </a:cubicBezTo>
                <a:cubicBezTo>
                  <a:pt x="1923" y="563"/>
                  <a:pt x="1923" y="563"/>
                  <a:pt x="1923" y="563"/>
                </a:cubicBezTo>
                <a:cubicBezTo>
                  <a:pt x="1657" y="563"/>
                  <a:pt x="1657" y="563"/>
                  <a:pt x="1657" y="563"/>
                </a:cubicBezTo>
                <a:cubicBezTo>
                  <a:pt x="1657" y="729"/>
                  <a:pt x="1657" y="729"/>
                  <a:pt x="1657" y="729"/>
                </a:cubicBezTo>
                <a:cubicBezTo>
                  <a:pt x="1923" y="729"/>
                  <a:pt x="1923" y="729"/>
                  <a:pt x="1923" y="729"/>
                </a:cubicBezTo>
                <a:cubicBezTo>
                  <a:pt x="1923" y="782"/>
                  <a:pt x="1923" y="782"/>
                  <a:pt x="1923" y="782"/>
                </a:cubicBezTo>
                <a:cubicBezTo>
                  <a:pt x="1657" y="782"/>
                  <a:pt x="1657" y="782"/>
                  <a:pt x="1657" y="782"/>
                </a:cubicBezTo>
                <a:cubicBezTo>
                  <a:pt x="1657" y="948"/>
                  <a:pt x="1657" y="948"/>
                  <a:pt x="1657" y="948"/>
                </a:cubicBezTo>
                <a:cubicBezTo>
                  <a:pt x="1923" y="948"/>
                  <a:pt x="1923" y="948"/>
                  <a:pt x="1923" y="948"/>
                </a:cubicBezTo>
                <a:cubicBezTo>
                  <a:pt x="1923" y="1001"/>
                  <a:pt x="1923" y="1001"/>
                  <a:pt x="1923" y="1001"/>
                </a:cubicBezTo>
                <a:cubicBezTo>
                  <a:pt x="1657" y="1001"/>
                  <a:pt x="1657" y="1001"/>
                  <a:pt x="1657" y="1001"/>
                </a:cubicBezTo>
                <a:lnTo>
                  <a:pt x="1657" y="1896"/>
                </a:lnTo>
                <a:close/>
                <a:moveTo>
                  <a:pt x="53" y="1896"/>
                </a:moveTo>
                <a:cubicBezTo>
                  <a:pt x="584" y="1896"/>
                  <a:pt x="584" y="1896"/>
                  <a:pt x="584" y="1896"/>
                </a:cubicBezTo>
                <a:cubicBezTo>
                  <a:pt x="584" y="1001"/>
                  <a:pt x="584" y="1001"/>
                  <a:pt x="584" y="1001"/>
                </a:cubicBezTo>
                <a:cubicBezTo>
                  <a:pt x="318" y="1001"/>
                  <a:pt x="318" y="1001"/>
                  <a:pt x="318" y="1001"/>
                </a:cubicBezTo>
                <a:cubicBezTo>
                  <a:pt x="318" y="948"/>
                  <a:pt x="318" y="948"/>
                  <a:pt x="318" y="948"/>
                </a:cubicBezTo>
                <a:cubicBezTo>
                  <a:pt x="584" y="948"/>
                  <a:pt x="584" y="948"/>
                  <a:pt x="584" y="948"/>
                </a:cubicBezTo>
                <a:cubicBezTo>
                  <a:pt x="584" y="782"/>
                  <a:pt x="584" y="782"/>
                  <a:pt x="584" y="782"/>
                </a:cubicBezTo>
                <a:cubicBezTo>
                  <a:pt x="318" y="782"/>
                  <a:pt x="318" y="782"/>
                  <a:pt x="318" y="782"/>
                </a:cubicBezTo>
                <a:cubicBezTo>
                  <a:pt x="318" y="729"/>
                  <a:pt x="318" y="729"/>
                  <a:pt x="318" y="729"/>
                </a:cubicBezTo>
                <a:cubicBezTo>
                  <a:pt x="584" y="729"/>
                  <a:pt x="584" y="729"/>
                  <a:pt x="584" y="729"/>
                </a:cubicBezTo>
                <a:cubicBezTo>
                  <a:pt x="584" y="563"/>
                  <a:pt x="584" y="563"/>
                  <a:pt x="584" y="563"/>
                </a:cubicBezTo>
                <a:cubicBezTo>
                  <a:pt x="318" y="563"/>
                  <a:pt x="318" y="563"/>
                  <a:pt x="318" y="563"/>
                </a:cubicBezTo>
                <a:cubicBezTo>
                  <a:pt x="318" y="510"/>
                  <a:pt x="318" y="510"/>
                  <a:pt x="318" y="510"/>
                </a:cubicBezTo>
                <a:cubicBezTo>
                  <a:pt x="584" y="510"/>
                  <a:pt x="584" y="510"/>
                  <a:pt x="584" y="510"/>
                </a:cubicBezTo>
                <a:cubicBezTo>
                  <a:pt x="584" y="344"/>
                  <a:pt x="584" y="344"/>
                  <a:pt x="584" y="344"/>
                </a:cubicBezTo>
                <a:cubicBezTo>
                  <a:pt x="53" y="344"/>
                  <a:pt x="53" y="344"/>
                  <a:pt x="53" y="344"/>
                </a:cubicBezTo>
                <a:lnTo>
                  <a:pt x="53" y="1896"/>
                </a:lnTo>
                <a:close/>
                <a:moveTo>
                  <a:pt x="1412" y="709"/>
                </a:moveTo>
                <a:cubicBezTo>
                  <a:pt x="829" y="709"/>
                  <a:pt x="829" y="709"/>
                  <a:pt x="829" y="709"/>
                </a:cubicBezTo>
                <a:cubicBezTo>
                  <a:pt x="829" y="656"/>
                  <a:pt x="829" y="656"/>
                  <a:pt x="829" y="656"/>
                </a:cubicBezTo>
                <a:cubicBezTo>
                  <a:pt x="1412" y="656"/>
                  <a:pt x="1412" y="656"/>
                  <a:pt x="1412" y="656"/>
                </a:cubicBezTo>
                <a:lnTo>
                  <a:pt x="1412" y="709"/>
                </a:lnTo>
                <a:close/>
                <a:moveTo>
                  <a:pt x="1412" y="490"/>
                </a:moveTo>
                <a:cubicBezTo>
                  <a:pt x="829" y="490"/>
                  <a:pt x="829" y="490"/>
                  <a:pt x="829" y="490"/>
                </a:cubicBezTo>
                <a:cubicBezTo>
                  <a:pt x="829" y="437"/>
                  <a:pt x="829" y="437"/>
                  <a:pt x="829" y="437"/>
                </a:cubicBezTo>
                <a:cubicBezTo>
                  <a:pt x="1412" y="437"/>
                  <a:pt x="1412" y="437"/>
                  <a:pt x="1412" y="437"/>
                </a:cubicBezTo>
                <a:lnTo>
                  <a:pt x="1412" y="490"/>
                </a:lnTo>
                <a:close/>
                <a:moveTo>
                  <a:pt x="1412" y="271"/>
                </a:moveTo>
                <a:cubicBezTo>
                  <a:pt x="829" y="271"/>
                  <a:pt x="829" y="271"/>
                  <a:pt x="829" y="271"/>
                </a:cubicBezTo>
                <a:cubicBezTo>
                  <a:pt x="829" y="219"/>
                  <a:pt x="829" y="219"/>
                  <a:pt x="829" y="219"/>
                </a:cubicBezTo>
                <a:cubicBezTo>
                  <a:pt x="1412" y="219"/>
                  <a:pt x="1412" y="219"/>
                  <a:pt x="1412" y="219"/>
                </a:cubicBezTo>
                <a:lnTo>
                  <a:pt x="1412" y="271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622" hangingPunct="0">
              <a:lnSpc>
                <a:spcPts val="1500"/>
              </a:lnSpc>
              <a:defRPr/>
            </a:pPr>
            <a:endParaRPr lang="uk-UA" sz="2400" kern="0">
              <a:solidFill>
                <a:srgbClr val="000000"/>
              </a:solidFill>
              <a:latin typeface="IBM Plex Sans Regular"/>
              <a:cs typeface="Arial"/>
              <a:sym typeface="IBM Plex Sans Light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E690432-8DC0-8173-8F6F-2A6BD4E6E3F8}"/>
              </a:ext>
            </a:extLst>
          </p:cNvPr>
          <p:cNvSpPr txBox="1"/>
          <p:nvPr/>
        </p:nvSpPr>
        <p:spPr>
          <a:xfrm>
            <a:off x="3854429" y="1284235"/>
            <a:ext cx="2590155" cy="584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defTabSz="914622" hangingPunct="0"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Aligned Business </a:t>
            </a:r>
          </a:p>
          <a:p>
            <a:pPr defTabSz="914622" hangingPunct="0"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Strategy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9066465-3FA5-1D61-228B-49CCAEEF8303}"/>
              </a:ext>
            </a:extLst>
          </p:cNvPr>
          <p:cNvSpPr txBox="1"/>
          <p:nvPr/>
        </p:nvSpPr>
        <p:spPr>
          <a:xfrm>
            <a:off x="3854427" y="2433767"/>
            <a:ext cx="2336823" cy="830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defTabSz="914622" hangingPunct="0"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ESG Data, Reporting, and Climate Risk Management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961E3E0D-E524-87C5-DC58-C059849C1911}"/>
              </a:ext>
            </a:extLst>
          </p:cNvPr>
          <p:cNvSpPr/>
          <p:nvPr/>
        </p:nvSpPr>
        <p:spPr bwMode="auto">
          <a:xfrm>
            <a:off x="6535237" y="1325450"/>
            <a:ext cx="5085264" cy="434863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1219139" hangingPunct="0">
              <a:lnSpc>
                <a:spcPts val="1500"/>
              </a:lnSpc>
            </a:pPr>
            <a:r>
              <a:rPr lang="en-US" sz="1600" kern="0" dirty="0">
                <a:solidFill>
                  <a:srgbClr val="000000"/>
                </a:solidFill>
                <a:latin typeface="IBM Plex Sans Light"/>
                <a:sym typeface="IBM Plex Sans Light"/>
              </a:rPr>
              <a:t>Organization, operating model, culture, data and tech strategy to drive innovation across business and society 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3314DA0-388B-4889-8732-A8620955107F}"/>
              </a:ext>
            </a:extLst>
          </p:cNvPr>
          <p:cNvSpPr/>
          <p:nvPr/>
        </p:nvSpPr>
        <p:spPr bwMode="auto">
          <a:xfrm>
            <a:off x="6535237" y="2474982"/>
            <a:ext cx="4892040" cy="434863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1219139" hangingPunct="0">
              <a:lnSpc>
                <a:spcPts val="1500"/>
              </a:lnSpc>
            </a:pPr>
            <a:r>
              <a:rPr lang="en-US" sz="1600" kern="0" dirty="0">
                <a:solidFill>
                  <a:srgbClr val="000000"/>
                </a:solidFill>
                <a:latin typeface="IBM Plex Sans Light"/>
                <a:sym typeface="IBM Plex Sans Light"/>
              </a:rPr>
              <a:t>System of record to operationalize sustainability goals and environmental intelligence</a:t>
            </a:r>
          </a:p>
        </p:txBody>
      </p:sp>
    </p:spTree>
    <p:extLst>
      <p:ext uri="{BB962C8B-B14F-4D97-AF65-F5344CB8AC3E}">
        <p14:creationId xmlns:p14="http://schemas.microsoft.com/office/powerpoint/2010/main" val="3937994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5E6C207-B970-2C48-9E2C-982E3DEDB214}"/>
              </a:ext>
            </a:extLst>
          </p:cNvPr>
          <p:cNvCxnSpPr>
            <a:cxnSpLocks/>
          </p:cNvCxnSpPr>
          <p:nvPr/>
        </p:nvCxnSpPr>
        <p:spPr bwMode="auto">
          <a:xfrm>
            <a:off x="9174845" y="3570673"/>
            <a:ext cx="0" cy="210312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51" name="Graphic 69">
            <a:extLst>
              <a:ext uri="{FF2B5EF4-FFF2-40B4-BE49-F238E27FC236}">
                <a16:creationId xmlns:a16="http://schemas.microsoft.com/office/drawing/2014/main" id="{C1103746-D918-C646-A3F9-067418A3BFAD}"/>
              </a:ext>
            </a:extLst>
          </p:cNvPr>
          <p:cNvSpPr>
            <a:spLocks noChangeAspect="1"/>
          </p:cNvSpPr>
          <p:nvPr/>
        </p:nvSpPr>
        <p:spPr>
          <a:xfrm>
            <a:off x="9477217" y="3627225"/>
            <a:ext cx="750307" cy="543016"/>
          </a:xfrm>
          <a:custGeom>
            <a:avLst/>
            <a:gdLst>
              <a:gd name="connsiteX0" fmla="*/ 5277828 w 6393180"/>
              <a:gd name="connsiteY0" fmla="*/ 5144630 h 5144770"/>
              <a:gd name="connsiteX1" fmla="*/ 4582668 w 6393180"/>
              <a:gd name="connsiteY1" fmla="*/ 4520388 h 5144770"/>
              <a:gd name="connsiteX2" fmla="*/ 2019465 w 6393180"/>
              <a:gd name="connsiteY2" fmla="*/ 4520388 h 5144770"/>
              <a:gd name="connsiteX3" fmla="*/ 1324305 w 6393180"/>
              <a:gd name="connsiteY3" fmla="*/ 5144630 h 5144770"/>
              <a:gd name="connsiteX4" fmla="*/ 629145 w 6393180"/>
              <a:gd name="connsiteY4" fmla="*/ 4520388 h 5144770"/>
              <a:gd name="connsiteX5" fmla="*/ 491985 w 6393180"/>
              <a:gd name="connsiteY5" fmla="*/ 4520388 h 5144770"/>
              <a:gd name="connsiteX6" fmla="*/ 953 w 6393180"/>
              <a:gd name="connsiteY6" fmla="*/ 4029354 h 5144770"/>
              <a:gd name="connsiteX7" fmla="*/ 953 w 6393180"/>
              <a:gd name="connsiteY7" fmla="*/ 2572791 h 5144770"/>
              <a:gd name="connsiteX8" fmla="*/ 11621 w 6393180"/>
              <a:gd name="connsiteY8" fmla="*/ 2534285 h 5144770"/>
              <a:gd name="connsiteX9" fmla="*/ 851967 w 6393180"/>
              <a:gd name="connsiteY9" fmla="*/ 1078738 h 5144770"/>
              <a:gd name="connsiteX10" fmla="*/ 916788 w 6393180"/>
              <a:gd name="connsiteY10" fmla="*/ 1041349 h 5144770"/>
              <a:gd name="connsiteX11" fmla="*/ 2497912 w 6393180"/>
              <a:gd name="connsiteY11" fmla="*/ 1041349 h 5144770"/>
              <a:gd name="connsiteX12" fmla="*/ 2497912 w 6393180"/>
              <a:gd name="connsiteY12" fmla="*/ 75832 h 5144770"/>
              <a:gd name="connsiteX13" fmla="*/ 2572791 w 6393180"/>
              <a:gd name="connsiteY13" fmla="*/ 953 h 5144770"/>
              <a:gd name="connsiteX14" fmla="*/ 6318238 w 6393180"/>
              <a:gd name="connsiteY14" fmla="*/ 953 h 5144770"/>
              <a:gd name="connsiteX15" fmla="*/ 6393117 w 6393180"/>
              <a:gd name="connsiteY15" fmla="*/ 75832 h 5144770"/>
              <a:gd name="connsiteX16" fmla="*/ 6393117 w 6393180"/>
              <a:gd name="connsiteY16" fmla="*/ 4445508 h 5144770"/>
              <a:gd name="connsiteX17" fmla="*/ 6318238 w 6393180"/>
              <a:gd name="connsiteY17" fmla="*/ 4520388 h 5144770"/>
              <a:gd name="connsiteX18" fmla="*/ 5973001 w 6393180"/>
              <a:gd name="connsiteY18" fmla="*/ 4520388 h 5144770"/>
              <a:gd name="connsiteX19" fmla="*/ 5277828 w 6393180"/>
              <a:gd name="connsiteY19" fmla="*/ 5144630 h 5144770"/>
              <a:gd name="connsiteX20" fmla="*/ 5277828 w 6393180"/>
              <a:gd name="connsiteY20" fmla="*/ 3896157 h 5144770"/>
              <a:gd name="connsiteX21" fmla="*/ 4728464 w 6393180"/>
              <a:gd name="connsiteY21" fmla="*/ 4445521 h 5144770"/>
              <a:gd name="connsiteX22" fmla="*/ 5277828 w 6393180"/>
              <a:gd name="connsiteY22" fmla="*/ 4994885 h 5144770"/>
              <a:gd name="connsiteX23" fmla="*/ 5827192 w 6393180"/>
              <a:gd name="connsiteY23" fmla="*/ 4445521 h 5144770"/>
              <a:gd name="connsiteX24" fmla="*/ 5277828 w 6393180"/>
              <a:gd name="connsiteY24" fmla="*/ 3896157 h 5144770"/>
              <a:gd name="connsiteX25" fmla="*/ 1324318 w 6393180"/>
              <a:gd name="connsiteY25" fmla="*/ 3896157 h 5144770"/>
              <a:gd name="connsiteX26" fmla="*/ 774954 w 6393180"/>
              <a:gd name="connsiteY26" fmla="*/ 4445521 h 5144770"/>
              <a:gd name="connsiteX27" fmla="*/ 1324318 w 6393180"/>
              <a:gd name="connsiteY27" fmla="*/ 4994885 h 5144770"/>
              <a:gd name="connsiteX28" fmla="*/ 1873682 w 6393180"/>
              <a:gd name="connsiteY28" fmla="*/ 4445521 h 5144770"/>
              <a:gd name="connsiteX29" fmla="*/ 1324318 w 6393180"/>
              <a:gd name="connsiteY29" fmla="*/ 3896157 h 5144770"/>
              <a:gd name="connsiteX30" fmla="*/ 5972988 w 6393180"/>
              <a:gd name="connsiteY30" fmla="*/ 4370629 h 5144770"/>
              <a:gd name="connsiteX31" fmla="*/ 6243346 w 6393180"/>
              <a:gd name="connsiteY31" fmla="*/ 4370629 h 5144770"/>
              <a:gd name="connsiteX32" fmla="*/ 6243346 w 6393180"/>
              <a:gd name="connsiteY32" fmla="*/ 150711 h 5144770"/>
              <a:gd name="connsiteX33" fmla="*/ 2647671 w 6393180"/>
              <a:gd name="connsiteY33" fmla="*/ 150711 h 5144770"/>
              <a:gd name="connsiteX34" fmla="*/ 2647671 w 6393180"/>
              <a:gd name="connsiteY34" fmla="*/ 4370629 h 5144770"/>
              <a:gd name="connsiteX35" fmla="*/ 4582668 w 6393180"/>
              <a:gd name="connsiteY35" fmla="*/ 4370629 h 5144770"/>
              <a:gd name="connsiteX36" fmla="*/ 5277828 w 6393180"/>
              <a:gd name="connsiteY36" fmla="*/ 3746386 h 5144770"/>
              <a:gd name="connsiteX37" fmla="*/ 5972988 w 6393180"/>
              <a:gd name="connsiteY37" fmla="*/ 4370629 h 5144770"/>
              <a:gd name="connsiteX38" fmla="*/ 2019465 w 6393180"/>
              <a:gd name="connsiteY38" fmla="*/ 4370629 h 5144770"/>
              <a:gd name="connsiteX39" fmla="*/ 2497912 w 6393180"/>
              <a:gd name="connsiteY39" fmla="*/ 4370629 h 5144770"/>
              <a:gd name="connsiteX40" fmla="*/ 2497912 w 6393180"/>
              <a:gd name="connsiteY40" fmla="*/ 2647671 h 5144770"/>
              <a:gd name="connsiteX41" fmla="*/ 150711 w 6393180"/>
              <a:gd name="connsiteY41" fmla="*/ 2647671 h 5144770"/>
              <a:gd name="connsiteX42" fmla="*/ 150711 w 6393180"/>
              <a:gd name="connsiteY42" fmla="*/ 4029354 h 5144770"/>
              <a:gd name="connsiteX43" fmla="*/ 491985 w 6393180"/>
              <a:gd name="connsiteY43" fmla="*/ 4370629 h 5144770"/>
              <a:gd name="connsiteX44" fmla="*/ 629145 w 6393180"/>
              <a:gd name="connsiteY44" fmla="*/ 4370629 h 5144770"/>
              <a:gd name="connsiteX45" fmla="*/ 1324305 w 6393180"/>
              <a:gd name="connsiteY45" fmla="*/ 3746386 h 5144770"/>
              <a:gd name="connsiteX46" fmla="*/ 2019465 w 6393180"/>
              <a:gd name="connsiteY46" fmla="*/ 4370629 h 5144770"/>
              <a:gd name="connsiteX47" fmla="*/ 2023428 w 6393180"/>
              <a:gd name="connsiteY47" fmla="*/ 2497912 h 5144770"/>
              <a:gd name="connsiteX48" fmla="*/ 2497912 w 6393180"/>
              <a:gd name="connsiteY48" fmla="*/ 2497912 h 5144770"/>
              <a:gd name="connsiteX49" fmla="*/ 2497912 w 6393180"/>
              <a:gd name="connsiteY49" fmla="*/ 1191108 h 5144770"/>
              <a:gd name="connsiteX50" fmla="*/ 2023428 w 6393180"/>
              <a:gd name="connsiteY50" fmla="*/ 1191108 h 5144770"/>
              <a:gd name="connsiteX51" fmla="*/ 2023428 w 6393180"/>
              <a:gd name="connsiteY51" fmla="*/ 2497912 h 5144770"/>
              <a:gd name="connsiteX52" fmla="*/ 205575 w 6393180"/>
              <a:gd name="connsiteY52" fmla="*/ 2497912 h 5144770"/>
              <a:gd name="connsiteX53" fmla="*/ 1873669 w 6393180"/>
              <a:gd name="connsiteY53" fmla="*/ 2497912 h 5144770"/>
              <a:gd name="connsiteX54" fmla="*/ 1873669 w 6393180"/>
              <a:gd name="connsiteY54" fmla="*/ 1191108 h 5144770"/>
              <a:gd name="connsiteX55" fmla="*/ 960069 w 6393180"/>
              <a:gd name="connsiteY55" fmla="*/ 1191108 h 5144770"/>
              <a:gd name="connsiteX56" fmla="*/ 205575 w 6393180"/>
              <a:gd name="connsiteY56" fmla="*/ 2497912 h 5144770"/>
              <a:gd name="connsiteX57" fmla="*/ 2156638 w 6393180"/>
              <a:gd name="connsiteY57" fmla="*/ 3063837 h 5144770"/>
              <a:gd name="connsiteX58" fmla="*/ 1740472 w 6393180"/>
              <a:gd name="connsiteY58" fmla="*/ 3063837 h 5144770"/>
              <a:gd name="connsiteX59" fmla="*/ 1740472 w 6393180"/>
              <a:gd name="connsiteY59" fmla="*/ 2914079 h 5144770"/>
              <a:gd name="connsiteX60" fmla="*/ 2156638 w 6393180"/>
              <a:gd name="connsiteY60" fmla="*/ 2914079 h 5144770"/>
              <a:gd name="connsiteX61" fmla="*/ 2156638 w 6393180"/>
              <a:gd name="connsiteY61" fmla="*/ 3063837 h 5144770"/>
              <a:gd name="connsiteX62" fmla="*/ 5902071 w 6393180"/>
              <a:gd name="connsiteY62" fmla="*/ 2647671 h 5144770"/>
              <a:gd name="connsiteX63" fmla="*/ 4237432 w 6393180"/>
              <a:gd name="connsiteY63" fmla="*/ 2647671 h 5144770"/>
              <a:gd name="connsiteX64" fmla="*/ 4237432 w 6393180"/>
              <a:gd name="connsiteY64" fmla="*/ 2497912 h 5144770"/>
              <a:gd name="connsiteX65" fmla="*/ 5902071 w 6393180"/>
              <a:gd name="connsiteY65" fmla="*/ 2497912 h 5144770"/>
              <a:gd name="connsiteX66" fmla="*/ 5902071 w 6393180"/>
              <a:gd name="connsiteY66" fmla="*/ 2647671 h 5144770"/>
              <a:gd name="connsiteX67" fmla="*/ 5902071 w 6393180"/>
              <a:gd name="connsiteY67" fmla="*/ 2023428 h 5144770"/>
              <a:gd name="connsiteX68" fmla="*/ 3821278 w 6393180"/>
              <a:gd name="connsiteY68" fmla="*/ 2023428 h 5144770"/>
              <a:gd name="connsiteX69" fmla="*/ 3821278 w 6393180"/>
              <a:gd name="connsiteY69" fmla="*/ 1873669 h 5144770"/>
              <a:gd name="connsiteX70" fmla="*/ 5902084 w 6393180"/>
              <a:gd name="connsiteY70" fmla="*/ 1873669 h 5144770"/>
              <a:gd name="connsiteX71" fmla="*/ 5902084 w 6393180"/>
              <a:gd name="connsiteY71" fmla="*/ 2023428 h 5144770"/>
              <a:gd name="connsiteX72" fmla="*/ 5902071 w 6393180"/>
              <a:gd name="connsiteY72" fmla="*/ 1399197 h 5144770"/>
              <a:gd name="connsiteX73" fmla="*/ 3405111 w 6393180"/>
              <a:gd name="connsiteY73" fmla="*/ 1399197 h 5144770"/>
              <a:gd name="connsiteX74" fmla="*/ 3405111 w 6393180"/>
              <a:gd name="connsiteY74" fmla="*/ 1249439 h 5144770"/>
              <a:gd name="connsiteX75" fmla="*/ 5902071 w 6393180"/>
              <a:gd name="connsiteY75" fmla="*/ 1249439 h 5144770"/>
              <a:gd name="connsiteX76" fmla="*/ 5902071 w 6393180"/>
              <a:gd name="connsiteY76" fmla="*/ 1399197 h 5144770"/>
              <a:gd name="connsiteX77" fmla="*/ 5902071 w 6393180"/>
              <a:gd name="connsiteY77" fmla="*/ 774954 h 5144770"/>
              <a:gd name="connsiteX78" fmla="*/ 2988945 w 6393180"/>
              <a:gd name="connsiteY78" fmla="*/ 774954 h 5144770"/>
              <a:gd name="connsiteX79" fmla="*/ 2988945 w 6393180"/>
              <a:gd name="connsiteY79" fmla="*/ 625196 h 5144770"/>
              <a:gd name="connsiteX80" fmla="*/ 5902071 w 6393180"/>
              <a:gd name="connsiteY80" fmla="*/ 625196 h 5144770"/>
              <a:gd name="connsiteX81" fmla="*/ 5902071 w 6393180"/>
              <a:gd name="connsiteY81" fmla="*/ 774954 h 5144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</a:cxnLst>
            <a:rect l="l" t="t" r="r" b="b"/>
            <a:pathLst>
              <a:path w="6393180" h="5144770">
                <a:moveTo>
                  <a:pt x="5277828" y="5144630"/>
                </a:moveTo>
                <a:cubicBezTo>
                  <a:pt x="4917656" y="5144630"/>
                  <a:pt x="4620159" y="4870819"/>
                  <a:pt x="4582668" y="4520388"/>
                </a:cubicBezTo>
                <a:lnTo>
                  <a:pt x="2019465" y="4520388"/>
                </a:lnTo>
                <a:cubicBezTo>
                  <a:pt x="1981975" y="4870806"/>
                  <a:pt x="1684490" y="5144630"/>
                  <a:pt x="1324305" y="5144630"/>
                </a:cubicBezTo>
                <a:cubicBezTo>
                  <a:pt x="964121" y="5144630"/>
                  <a:pt x="666636" y="4870819"/>
                  <a:pt x="629145" y="4520388"/>
                </a:cubicBezTo>
                <a:lnTo>
                  <a:pt x="491985" y="4520388"/>
                </a:lnTo>
                <a:cubicBezTo>
                  <a:pt x="221221" y="4520400"/>
                  <a:pt x="953" y="4300119"/>
                  <a:pt x="953" y="4029354"/>
                </a:cubicBezTo>
                <a:lnTo>
                  <a:pt x="953" y="2572791"/>
                </a:lnTo>
                <a:cubicBezTo>
                  <a:pt x="953" y="2558669"/>
                  <a:pt x="4813" y="2545461"/>
                  <a:pt x="11621" y="2534285"/>
                </a:cubicBezTo>
                <a:lnTo>
                  <a:pt x="851967" y="1078738"/>
                </a:lnTo>
                <a:cubicBezTo>
                  <a:pt x="865276" y="1055573"/>
                  <a:pt x="890067" y="1041349"/>
                  <a:pt x="916788" y="1041349"/>
                </a:cubicBezTo>
                <a:lnTo>
                  <a:pt x="2497912" y="1041349"/>
                </a:lnTo>
                <a:lnTo>
                  <a:pt x="2497912" y="75832"/>
                </a:lnTo>
                <a:cubicBezTo>
                  <a:pt x="2497912" y="34481"/>
                  <a:pt x="2531440" y="953"/>
                  <a:pt x="2572791" y="953"/>
                </a:cubicBezTo>
                <a:lnTo>
                  <a:pt x="6318238" y="953"/>
                </a:lnTo>
                <a:cubicBezTo>
                  <a:pt x="6359589" y="953"/>
                  <a:pt x="6393117" y="34481"/>
                  <a:pt x="6393117" y="75832"/>
                </a:cubicBezTo>
                <a:lnTo>
                  <a:pt x="6393117" y="4445508"/>
                </a:lnTo>
                <a:cubicBezTo>
                  <a:pt x="6393117" y="4486859"/>
                  <a:pt x="6359589" y="4520388"/>
                  <a:pt x="6318238" y="4520388"/>
                </a:cubicBezTo>
                <a:lnTo>
                  <a:pt x="5973001" y="4520388"/>
                </a:lnTo>
                <a:cubicBezTo>
                  <a:pt x="5935498" y="4870819"/>
                  <a:pt x="5638013" y="5144630"/>
                  <a:pt x="5277828" y="5144630"/>
                </a:cubicBezTo>
                <a:close/>
                <a:moveTo>
                  <a:pt x="5277828" y="3896157"/>
                </a:moveTo>
                <a:cubicBezTo>
                  <a:pt x="4974959" y="3896157"/>
                  <a:pt x="4728464" y="4142638"/>
                  <a:pt x="4728464" y="4445521"/>
                </a:cubicBezTo>
                <a:cubicBezTo>
                  <a:pt x="4728464" y="4748403"/>
                  <a:pt x="4974946" y="4994885"/>
                  <a:pt x="5277828" y="4994885"/>
                </a:cubicBezTo>
                <a:cubicBezTo>
                  <a:pt x="5580698" y="4994885"/>
                  <a:pt x="5827192" y="4748403"/>
                  <a:pt x="5827192" y="4445521"/>
                </a:cubicBezTo>
                <a:cubicBezTo>
                  <a:pt x="5827192" y="4142638"/>
                  <a:pt x="5580710" y="3896157"/>
                  <a:pt x="5277828" y="3896157"/>
                </a:cubicBezTo>
                <a:close/>
                <a:moveTo>
                  <a:pt x="1324318" y="3896157"/>
                </a:moveTo>
                <a:cubicBezTo>
                  <a:pt x="1021448" y="3896157"/>
                  <a:pt x="774954" y="4142638"/>
                  <a:pt x="774954" y="4445521"/>
                </a:cubicBezTo>
                <a:cubicBezTo>
                  <a:pt x="774954" y="4748403"/>
                  <a:pt x="1021436" y="4994885"/>
                  <a:pt x="1324318" y="4994885"/>
                </a:cubicBezTo>
                <a:cubicBezTo>
                  <a:pt x="1627200" y="4994885"/>
                  <a:pt x="1873682" y="4748403"/>
                  <a:pt x="1873682" y="4445521"/>
                </a:cubicBezTo>
                <a:cubicBezTo>
                  <a:pt x="1873682" y="4142638"/>
                  <a:pt x="1627188" y="3896157"/>
                  <a:pt x="1324318" y="3896157"/>
                </a:cubicBezTo>
                <a:close/>
                <a:moveTo>
                  <a:pt x="5972988" y="4370629"/>
                </a:moveTo>
                <a:lnTo>
                  <a:pt x="6243346" y="4370629"/>
                </a:lnTo>
                <a:lnTo>
                  <a:pt x="6243346" y="150711"/>
                </a:lnTo>
                <a:lnTo>
                  <a:pt x="2647671" y="150711"/>
                </a:lnTo>
                <a:lnTo>
                  <a:pt x="2647671" y="4370629"/>
                </a:lnTo>
                <a:lnTo>
                  <a:pt x="4582668" y="4370629"/>
                </a:lnTo>
                <a:cubicBezTo>
                  <a:pt x="4620159" y="4020211"/>
                  <a:pt x="4917643" y="3746386"/>
                  <a:pt x="5277828" y="3746386"/>
                </a:cubicBezTo>
                <a:cubicBezTo>
                  <a:pt x="5638013" y="3746386"/>
                  <a:pt x="5935498" y="4020211"/>
                  <a:pt x="5972988" y="4370629"/>
                </a:cubicBezTo>
                <a:close/>
                <a:moveTo>
                  <a:pt x="2019465" y="4370629"/>
                </a:moveTo>
                <a:lnTo>
                  <a:pt x="2497912" y="4370629"/>
                </a:lnTo>
                <a:lnTo>
                  <a:pt x="2497912" y="2647671"/>
                </a:lnTo>
                <a:lnTo>
                  <a:pt x="150711" y="2647671"/>
                </a:lnTo>
                <a:lnTo>
                  <a:pt x="150711" y="4029354"/>
                </a:lnTo>
                <a:cubicBezTo>
                  <a:pt x="150711" y="4217518"/>
                  <a:pt x="303822" y="4370629"/>
                  <a:pt x="491985" y="4370629"/>
                </a:cubicBezTo>
                <a:lnTo>
                  <a:pt x="629145" y="4370629"/>
                </a:lnTo>
                <a:cubicBezTo>
                  <a:pt x="666636" y="4020211"/>
                  <a:pt x="964121" y="3746386"/>
                  <a:pt x="1324305" y="3746386"/>
                </a:cubicBezTo>
                <a:cubicBezTo>
                  <a:pt x="1684490" y="3746386"/>
                  <a:pt x="1981975" y="4020211"/>
                  <a:pt x="2019465" y="4370629"/>
                </a:cubicBezTo>
                <a:close/>
                <a:moveTo>
                  <a:pt x="2023428" y="2497912"/>
                </a:moveTo>
                <a:lnTo>
                  <a:pt x="2497912" y="2497912"/>
                </a:lnTo>
                <a:lnTo>
                  <a:pt x="2497912" y="1191108"/>
                </a:lnTo>
                <a:lnTo>
                  <a:pt x="2023428" y="1191108"/>
                </a:lnTo>
                <a:lnTo>
                  <a:pt x="2023428" y="2497912"/>
                </a:lnTo>
                <a:close/>
                <a:moveTo>
                  <a:pt x="205575" y="2497912"/>
                </a:moveTo>
                <a:lnTo>
                  <a:pt x="1873669" y="2497912"/>
                </a:lnTo>
                <a:lnTo>
                  <a:pt x="1873669" y="1191108"/>
                </a:lnTo>
                <a:lnTo>
                  <a:pt x="960069" y="1191108"/>
                </a:lnTo>
                <a:lnTo>
                  <a:pt x="205575" y="2497912"/>
                </a:lnTo>
                <a:close/>
                <a:moveTo>
                  <a:pt x="2156638" y="3063837"/>
                </a:moveTo>
                <a:lnTo>
                  <a:pt x="1740472" y="3063837"/>
                </a:lnTo>
                <a:lnTo>
                  <a:pt x="1740472" y="2914079"/>
                </a:lnTo>
                <a:lnTo>
                  <a:pt x="2156638" y="2914079"/>
                </a:lnTo>
                <a:lnTo>
                  <a:pt x="2156638" y="3063837"/>
                </a:lnTo>
                <a:close/>
                <a:moveTo>
                  <a:pt x="5902071" y="2647671"/>
                </a:moveTo>
                <a:lnTo>
                  <a:pt x="4237432" y="2647671"/>
                </a:lnTo>
                <a:lnTo>
                  <a:pt x="4237432" y="2497912"/>
                </a:lnTo>
                <a:lnTo>
                  <a:pt x="5902071" y="2497912"/>
                </a:lnTo>
                <a:lnTo>
                  <a:pt x="5902071" y="2647671"/>
                </a:lnTo>
                <a:close/>
                <a:moveTo>
                  <a:pt x="5902071" y="2023428"/>
                </a:moveTo>
                <a:lnTo>
                  <a:pt x="3821278" y="2023428"/>
                </a:lnTo>
                <a:lnTo>
                  <a:pt x="3821278" y="1873669"/>
                </a:lnTo>
                <a:lnTo>
                  <a:pt x="5902084" y="1873669"/>
                </a:lnTo>
                <a:lnTo>
                  <a:pt x="5902084" y="2023428"/>
                </a:lnTo>
                <a:close/>
                <a:moveTo>
                  <a:pt x="5902071" y="1399197"/>
                </a:moveTo>
                <a:lnTo>
                  <a:pt x="3405111" y="1399197"/>
                </a:lnTo>
                <a:lnTo>
                  <a:pt x="3405111" y="1249439"/>
                </a:lnTo>
                <a:lnTo>
                  <a:pt x="5902071" y="1249439"/>
                </a:lnTo>
                <a:lnTo>
                  <a:pt x="5902071" y="1399197"/>
                </a:lnTo>
                <a:close/>
                <a:moveTo>
                  <a:pt x="5902071" y="774954"/>
                </a:moveTo>
                <a:lnTo>
                  <a:pt x="2988945" y="774954"/>
                </a:lnTo>
                <a:lnTo>
                  <a:pt x="2988945" y="625196"/>
                </a:lnTo>
                <a:lnTo>
                  <a:pt x="5902071" y="625196"/>
                </a:lnTo>
                <a:lnTo>
                  <a:pt x="5902071" y="774954"/>
                </a:lnTo>
                <a:close/>
              </a:path>
            </a:pathLst>
          </a:custGeom>
          <a:solidFill>
            <a:schemeClr val="tx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defTabSz="685934" hangingPunct="0">
              <a:lnSpc>
                <a:spcPts val="1500"/>
              </a:lnSpc>
              <a:defRPr/>
            </a:pPr>
            <a:endParaRPr lang="en-US" sz="1600" kern="0" dirty="0">
              <a:solidFill>
                <a:srgbClr val="000000"/>
              </a:solidFill>
              <a:latin typeface="IBM Plex Sans Regular"/>
              <a:cs typeface="Arial"/>
              <a:sym typeface="IBM Plex Sans Light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9B6DCC2-6239-084F-A7CC-D78CE2551F36}"/>
              </a:ext>
            </a:extLst>
          </p:cNvPr>
          <p:cNvSpPr txBox="1"/>
          <p:nvPr/>
        </p:nvSpPr>
        <p:spPr>
          <a:xfrm>
            <a:off x="9477217" y="4455333"/>
            <a:ext cx="2377440" cy="136960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Circular Supply Chains </a:t>
            </a:r>
          </a:p>
          <a:p>
            <a:pPr defTabSz="914622" hangingPunct="0">
              <a:spcBef>
                <a:spcPts val="900"/>
              </a:spcBef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Sterling Order Management</a:t>
            </a:r>
          </a:p>
          <a:p>
            <a:pPr defTabSz="914622" hangingPunct="0">
              <a:spcBef>
                <a:spcPts val="300"/>
              </a:spcBef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Supply Chain </a:t>
            </a:r>
          </a:p>
          <a:p>
            <a:pPr defTabSz="914622" hangingPunct="0">
              <a:spcBef>
                <a:spcPts val="300"/>
              </a:spcBef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Intelligence Suite</a:t>
            </a:r>
          </a:p>
        </p:txBody>
      </p:sp>
      <p:sp>
        <p:nvSpPr>
          <p:cNvPr id="45" name="Freeform 42">
            <a:extLst>
              <a:ext uri="{FF2B5EF4-FFF2-40B4-BE49-F238E27FC236}">
                <a16:creationId xmlns:a16="http://schemas.microsoft.com/office/drawing/2014/main" id="{9EFF22D8-4CA3-F948-B531-FEB74C094E6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772760" y="3582948"/>
            <a:ext cx="675928" cy="675768"/>
          </a:xfrm>
          <a:custGeom>
            <a:avLst/>
            <a:gdLst>
              <a:gd name="T0" fmla="*/ 610 w 2241"/>
              <a:gd name="T1" fmla="*/ 2241 h 2241"/>
              <a:gd name="T2" fmla="*/ 584 w 2241"/>
              <a:gd name="T3" fmla="*/ 1949 h 2241"/>
              <a:gd name="T4" fmla="*/ 0 w 2241"/>
              <a:gd name="T5" fmla="*/ 1923 h 2241"/>
              <a:gd name="T6" fmla="*/ 26 w 2241"/>
              <a:gd name="T7" fmla="*/ 292 h 2241"/>
              <a:gd name="T8" fmla="*/ 584 w 2241"/>
              <a:gd name="T9" fmla="*/ 26 h 2241"/>
              <a:gd name="T10" fmla="*/ 1631 w 2241"/>
              <a:gd name="T11" fmla="*/ 0 h 2241"/>
              <a:gd name="T12" fmla="*/ 1657 w 2241"/>
              <a:gd name="T13" fmla="*/ 292 h 2241"/>
              <a:gd name="T14" fmla="*/ 2241 w 2241"/>
              <a:gd name="T15" fmla="*/ 318 h 2241"/>
              <a:gd name="T16" fmla="*/ 2215 w 2241"/>
              <a:gd name="T17" fmla="*/ 1949 h 2241"/>
              <a:gd name="T18" fmla="*/ 1657 w 2241"/>
              <a:gd name="T19" fmla="*/ 2214 h 2241"/>
              <a:gd name="T20" fmla="*/ 636 w 2241"/>
              <a:gd name="T21" fmla="*/ 2188 h 2241"/>
              <a:gd name="T22" fmla="*/ 1605 w 2241"/>
              <a:gd name="T23" fmla="*/ 52 h 2241"/>
              <a:gd name="T24" fmla="*/ 636 w 2241"/>
              <a:gd name="T25" fmla="*/ 2188 h 2241"/>
              <a:gd name="T26" fmla="*/ 2189 w 2241"/>
              <a:gd name="T27" fmla="*/ 1896 h 2241"/>
              <a:gd name="T28" fmla="*/ 1657 w 2241"/>
              <a:gd name="T29" fmla="*/ 344 h 2241"/>
              <a:gd name="T30" fmla="*/ 1923 w 2241"/>
              <a:gd name="T31" fmla="*/ 510 h 2241"/>
              <a:gd name="T32" fmla="*/ 1657 w 2241"/>
              <a:gd name="T33" fmla="*/ 563 h 2241"/>
              <a:gd name="T34" fmla="*/ 1923 w 2241"/>
              <a:gd name="T35" fmla="*/ 729 h 2241"/>
              <a:gd name="T36" fmla="*/ 1657 w 2241"/>
              <a:gd name="T37" fmla="*/ 782 h 2241"/>
              <a:gd name="T38" fmla="*/ 1923 w 2241"/>
              <a:gd name="T39" fmla="*/ 948 h 2241"/>
              <a:gd name="T40" fmla="*/ 1657 w 2241"/>
              <a:gd name="T41" fmla="*/ 1001 h 2241"/>
              <a:gd name="T42" fmla="*/ 53 w 2241"/>
              <a:gd name="T43" fmla="*/ 1896 h 2241"/>
              <a:gd name="T44" fmla="*/ 584 w 2241"/>
              <a:gd name="T45" fmla="*/ 1001 h 2241"/>
              <a:gd name="T46" fmla="*/ 318 w 2241"/>
              <a:gd name="T47" fmla="*/ 948 h 2241"/>
              <a:gd name="T48" fmla="*/ 584 w 2241"/>
              <a:gd name="T49" fmla="*/ 782 h 2241"/>
              <a:gd name="T50" fmla="*/ 318 w 2241"/>
              <a:gd name="T51" fmla="*/ 729 h 2241"/>
              <a:gd name="T52" fmla="*/ 584 w 2241"/>
              <a:gd name="T53" fmla="*/ 563 h 2241"/>
              <a:gd name="T54" fmla="*/ 318 w 2241"/>
              <a:gd name="T55" fmla="*/ 510 h 2241"/>
              <a:gd name="T56" fmla="*/ 584 w 2241"/>
              <a:gd name="T57" fmla="*/ 344 h 2241"/>
              <a:gd name="T58" fmla="*/ 53 w 2241"/>
              <a:gd name="T59" fmla="*/ 1896 h 2241"/>
              <a:gd name="T60" fmla="*/ 829 w 2241"/>
              <a:gd name="T61" fmla="*/ 709 h 2241"/>
              <a:gd name="T62" fmla="*/ 1412 w 2241"/>
              <a:gd name="T63" fmla="*/ 656 h 2241"/>
              <a:gd name="T64" fmla="*/ 1412 w 2241"/>
              <a:gd name="T65" fmla="*/ 490 h 2241"/>
              <a:gd name="T66" fmla="*/ 829 w 2241"/>
              <a:gd name="T67" fmla="*/ 437 h 2241"/>
              <a:gd name="T68" fmla="*/ 1412 w 2241"/>
              <a:gd name="T69" fmla="*/ 490 h 2241"/>
              <a:gd name="T70" fmla="*/ 829 w 2241"/>
              <a:gd name="T71" fmla="*/ 271 h 2241"/>
              <a:gd name="T72" fmla="*/ 1412 w 2241"/>
              <a:gd name="T73" fmla="*/ 219 h 2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241" h="2241">
                <a:moveTo>
                  <a:pt x="1631" y="2241"/>
                </a:moveTo>
                <a:cubicBezTo>
                  <a:pt x="610" y="2241"/>
                  <a:pt x="610" y="2241"/>
                  <a:pt x="610" y="2241"/>
                </a:cubicBezTo>
                <a:cubicBezTo>
                  <a:pt x="595" y="2241"/>
                  <a:pt x="584" y="2229"/>
                  <a:pt x="584" y="2214"/>
                </a:cubicBezTo>
                <a:cubicBezTo>
                  <a:pt x="584" y="1949"/>
                  <a:pt x="584" y="1949"/>
                  <a:pt x="584" y="1949"/>
                </a:cubicBezTo>
                <a:cubicBezTo>
                  <a:pt x="26" y="1949"/>
                  <a:pt x="26" y="1949"/>
                  <a:pt x="26" y="1949"/>
                </a:cubicBezTo>
                <a:cubicBezTo>
                  <a:pt x="12" y="1949"/>
                  <a:pt x="0" y="1937"/>
                  <a:pt x="0" y="1923"/>
                </a:cubicBezTo>
                <a:cubicBezTo>
                  <a:pt x="0" y="318"/>
                  <a:pt x="0" y="318"/>
                  <a:pt x="0" y="318"/>
                </a:cubicBezTo>
                <a:cubicBezTo>
                  <a:pt x="0" y="303"/>
                  <a:pt x="12" y="292"/>
                  <a:pt x="26" y="292"/>
                </a:cubicBezTo>
                <a:cubicBezTo>
                  <a:pt x="584" y="292"/>
                  <a:pt x="584" y="292"/>
                  <a:pt x="584" y="292"/>
                </a:cubicBezTo>
                <a:cubicBezTo>
                  <a:pt x="584" y="26"/>
                  <a:pt x="584" y="26"/>
                  <a:pt x="584" y="26"/>
                </a:cubicBezTo>
                <a:cubicBezTo>
                  <a:pt x="584" y="12"/>
                  <a:pt x="595" y="0"/>
                  <a:pt x="610" y="0"/>
                </a:cubicBezTo>
                <a:cubicBezTo>
                  <a:pt x="1631" y="0"/>
                  <a:pt x="1631" y="0"/>
                  <a:pt x="1631" y="0"/>
                </a:cubicBezTo>
                <a:cubicBezTo>
                  <a:pt x="1646" y="0"/>
                  <a:pt x="1657" y="12"/>
                  <a:pt x="1657" y="26"/>
                </a:cubicBezTo>
                <a:cubicBezTo>
                  <a:pt x="1657" y="292"/>
                  <a:pt x="1657" y="292"/>
                  <a:pt x="1657" y="292"/>
                </a:cubicBezTo>
                <a:cubicBezTo>
                  <a:pt x="2215" y="292"/>
                  <a:pt x="2215" y="292"/>
                  <a:pt x="2215" y="292"/>
                </a:cubicBezTo>
                <a:cubicBezTo>
                  <a:pt x="2229" y="292"/>
                  <a:pt x="2241" y="303"/>
                  <a:pt x="2241" y="318"/>
                </a:cubicBezTo>
                <a:cubicBezTo>
                  <a:pt x="2241" y="1923"/>
                  <a:pt x="2241" y="1923"/>
                  <a:pt x="2241" y="1923"/>
                </a:cubicBezTo>
                <a:cubicBezTo>
                  <a:pt x="2241" y="1937"/>
                  <a:pt x="2229" y="1949"/>
                  <a:pt x="2215" y="1949"/>
                </a:cubicBezTo>
                <a:cubicBezTo>
                  <a:pt x="1657" y="1949"/>
                  <a:pt x="1657" y="1949"/>
                  <a:pt x="1657" y="1949"/>
                </a:cubicBezTo>
                <a:cubicBezTo>
                  <a:pt x="1657" y="2214"/>
                  <a:pt x="1657" y="2214"/>
                  <a:pt x="1657" y="2214"/>
                </a:cubicBezTo>
                <a:cubicBezTo>
                  <a:pt x="1657" y="2229"/>
                  <a:pt x="1646" y="2241"/>
                  <a:pt x="1631" y="2241"/>
                </a:cubicBezTo>
                <a:close/>
                <a:moveTo>
                  <a:pt x="636" y="2188"/>
                </a:moveTo>
                <a:cubicBezTo>
                  <a:pt x="1605" y="2188"/>
                  <a:pt x="1605" y="2188"/>
                  <a:pt x="1605" y="2188"/>
                </a:cubicBezTo>
                <a:cubicBezTo>
                  <a:pt x="1605" y="52"/>
                  <a:pt x="1605" y="52"/>
                  <a:pt x="1605" y="52"/>
                </a:cubicBezTo>
                <a:cubicBezTo>
                  <a:pt x="636" y="52"/>
                  <a:pt x="636" y="52"/>
                  <a:pt x="636" y="52"/>
                </a:cubicBezTo>
                <a:lnTo>
                  <a:pt x="636" y="2188"/>
                </a:lnTo>
                <a:close/>
                <a:moveTo>
                  <a:pt x="1657" y="1896"/>
                </a:moveTo>
                <a:cubicBezTo>
                  <a:pt x="2189" y="1896"/>
                  <a:pt x="2189" y="1896"/>
                  <a:pt x="2189" y="1896"/>
                </a:cubicBezTo>
                <a:cubicBezTo>
                  <a:pt x="2189" y="344"/>
                  <a:pt x="2189" y="344"/>
                  <a:pt x="2189" y="344"/>
                </a:cubicBezTo>
                <a:cubicBezTo>
                  <a:pt x="1657" y="344"/>
                  <a:pt x="1657" y="344"/>
                  <a:pt x="1657" y="344"/>
                </a:cubicBezTo>
                <a:cubicBezTo>
                  <a:pt x="1657" y="510"/>
                  <a:pt x="1657" y="510"/>
                  <a:pt x="1657" y="510"/>
                </a:cubicBezTo>
                <a:cubicBezTo>
                  <a:pt x="1923" y="510"/>
                  <a:pt x="1923" y="510"/>
                  <a:pt x="1923" y="510"/>
                </a:cubicBezTo>
                <a:cubicBezTo>
                  <a:pt x="1923" y="563"/>
                  <a:pt x="1923" y="563"/>
                  <a:pt x="1923" y="563"/>
                </a:cubicBezTo>
                <a:cubicBezTo>
                  <a:pt x="1657" y="563"/>
                  <a:pt x="1657" y="563"/>
                  <a:pt x="1657" y="563"/>
                </a:cubicBezTo>
                <a:cubicBezTo>
                  <a:pt x="1657" y="729"/>
                  <a:pt x="1657" y="729"/>
                  <a:pt x="1657" y="729"/>
                </a:cubicBezTo>
                <a:cubicBezTo>
                  <a:pt x="1923" y="729"/>
                  <a:pt x="1923" y="729"/>
                  <a:pt x="1923" y="729"/>
                </a:cubicBezTo>
                <a:cubicBezTo>
                  <a:pt x="1923" y="782"/>
                  <a:pt x="1923" y="782"/>
                  <a:pt x="1923" y="782"/>
                </a:cubicBezTo>
                <a:cubicBezTo>
                  <a:pt x="1657" y="782"/>
                  <a:pt x="1657" y="782"/>
                  <a:pt x="1657" y="782"/>
                </a:cubicBezTo>
                <a:cubicBezTo>
                  <a:pt x="1657" y="948"/>
                  <a:pt x="1657" y="948"/>
                  <a:pt x="1657" y="948"/>
                </a:cubicBezTo>
                <a:cubicBezTo>
                  <a:pt x="1923" y="948"/>
                  <a:pt x="1923" y="948"/>
                  <a:pt x="1923" y="948"/>
                </a:cubicBezTo>
                <a:cubicBezTo>
                  <a:pt x="1923" y="1001"/>
                  <a:pt x="1923" y="1001"/>
                  <a:pt x="1923" y="1001"/>
                </a:cubicBezTo>
                <a:cubicBezTo>
                  <a:pt x="1657" y="1001"/>
                  <a:pt x="1657" y="1001"/>
                  <a:pt x="1657" y="1001"/>
                </a:cubicBezTo>
                <a:lnTo>
                  <a:pt x="1657" y="1896"/>
                </a:lnTo>
                <a:close/>
                <a:moveTo>
                  <a:pt x="53" y="1896"/>
                </a:moveTo>
                <a:cubicBezTo>
                  <a:pt x="584" y="1896"/>
                  <a:pt x="584" y="1896"/>
                  <a:pt x="584" y="1896"/>
                </a:cubicBezTo>
                <a:cubicBezTo>
                  <a:pt x="584" y="1001"/>
                  <a:pt x="584" y="1001"/>
                  <a:pt x="584" y="1001"/>
                </a:cubicBezTo>
                <a:cubicBezTo>
                  <a:pt x="318" y="1001"/>
                  <a:pt x="318" y="1001"/>
                  <a:pt x="318" y="1001"/>
                </a:cubicBezTo>
                <a:cubicBezTo>
                  <a:pt x="318" y="948"/>
                  <a:pt x="318" y="948"/>
                  <a:pt x="318" y="948"/>
                </a:cubicBezTo>
                <a:cubicBezTo>
                  <a:pt x="584" y="948"/>
                  <a:pt x="584" y="948"/>
                  <a:pt x="584" y="948"/>
                </a:cubicBezTo>
                <a:cubicBezTo>
                  <a:pt x="584" y="782"/>
                  <a:pt x="584" y="782"/>
                  <a:pt x="584" y="782"/>
                </a:cubicBezTo>
                <a:cubicBezTo>
                  <a:pt x="318" y="782"/>
                  <a:pt x="318" y="782"/>
                  <a:pt x="318" y="782"/>
                </a:cubicBezTo>
                <a:cubicBezTo>
                  <a:pt x="318" y="729"/>
                  <a:pt x="318" y="729"/>
                  <a:pt x="318" y="729"/>
                </a:cubicBezTo>
                <a:cubicBezTo>
                  <a:pt x="584" y="729"/>
                  <a:pt x="584" y="729"/>
                  <a:pt x="584" y="729"/>
                </a:cubicBezTo>
                <a:cubicBezTo>
                  <a:pt x="584" y="563"/>
                  <a:pt x="584" y="563"/>
                  <a:pt x="584" y="563"/>
                </a:cubicBezTo>
                <a:cubicBezTo>
                  <a:pt x="318" y="563"/>
                  <a:pt x="318" y="563"/>
                  <a:pt x="318" y="563"/>
                </a:cubicBezTo>
                <a:cubicBezTo>
                  <a:pt x="318" y="510"/>
                  <a:pt x="318" y="510"/>
                  <a:pt x="318" y="510"/>
                </a:cubicBezTo>
                <a:cubicBezTo>
                  <a:pt x="584" y="510"/>
                  <a:pt x="584" y="510"/>
                  <a:pt x="584" y="510"/>
                </a:cubicBezTo>
                <a:cubicBezTo>
                  <a:pt x="584" y="344"/>
                  <a:pt x="584" y="344"/>
                  <a:pt x="584" y="344"/>
                </a:cubicBezTo>
                <a:cubicBezTo>
                  <a:pt x="53" y="344"/>
                  <a:pt x="53" y="344"/>
                  <a:pt x="53" y="344"/>
                </a:cubicBezTo>
                <a:lnTo>
                  <a:pt x="53" y="1896"/>
                </a:lnTo>
                <a:close/>
                <a:moveTo>
                  <a:pt x="1412" y="709"/>
                </a:moveTo>
                <a:cubicBezTo>
                  <a:pt x="829" y="709"/>
                  <a:pt x="829" y="709"/>
                  <a:pt x="829" y="709"/>
                </a:cubicBezTo>
                <a:cubicBezTo>
                  <a:pt x="829" y="656"/>
                  <a:pt x="829" y="656"/>
                  <a:pt x="829" y="656"/>
                </a:cubicBezTo>
                <a:cubicBezTo>
                  <a:pt x="1412" y="656"/>
                  <a:pt x="1412" y="656"/>
                  <a:pt x="1412" y="656"/>
                </a:cubicBezTo>
                <a:lnTo>
                  <a:pt x="1412" y="709"/>
                </a:lnTo>
                <a:close/>
                <a:moveTo>
                  <a:pt x="1412" y="490"/>
                </a:moveTo>
                <a:cubicBezTo>
                  <a:pt x="829" y="490"/>
                  <a:pt x="829" y="490"/>
                  <a:pt x="829" y="490"/>
                </a:cubicBezTo>
                <a:cubicBezTo>
                  <a:pt x="829" y="437"/>
                  <a:pt x="829" y="437"/>
                  <a:pt x="829" y="437"/>
                </a:cubicBezTo>
                <a:cubicBezTo>
                  <a:pt x="1412" y="437"/>
                  <a:pt x="1412" y="437"/>
                  <a:pt x="1412" y="437"/>
                </a:cubicBezTo>
                <a:lnTo>
                  <a:pt x="1412" y="490"/>
                </a:lnTo>
                <a:close/>
                <a:moveTo>
                  <a:pt x="1412" y="271"/>
                </a:moveTo>
                <a:cubicBezTo>
                  <a:pt x="829" y="271"/>
                  <a:pt x="829" y="271"/>
                  <a:pt x="829" y="271"/>
                </a:cubicBezTo>
                <a:cubicBezTo>
                  <a:pt x="829" y="219"/>
                  <a:pt x="829" y="219"/>
                  <a:pt x="829" y="219"/>
                </a:cubicBezTo>
                <a:cubicBezTo>
                  <a:pt x="1412" y="219"/>
                  <a:pt x="1412" y="219"/>
                  <a:pt x="1412" y="219"/>
                </a:cubicBezTo>
                <a:lnTo>
                  <a:pt x="1412" y="271"/>
                </a:lnTo>
                <a:close/>
              </a:path>
            </a:pathLst>
          </a:custGeom>
          <a:solidFill>
            <a:schemeClr val="tx1"/>
          </a:solidFill>
          <a:ln w="12700"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622" hangingPunct="0">
              <a:lnSpc>
                <a:spcPts val="1500"/>
              </a:lnSpc>
              <a:defRPr/>
            </a:pPr>
            <a:endParaRPr lang="uk-UA" sz="2400" kern="0">
              <a:solidFill>
                <a:srgbClr val="000000"/>
              </a:solidFill>
              <a:latin typeface="IBM Plex Sans Regular"/>
              <a:cs typeface="Arial"/>
              <a:sym typeface="IBM Plex Sans Light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C9C0BC76-B03D-7443-916E-C0FF3A69DA5A}"/>
              </a:ext>
            </a:extLst>
          </p:cNvPr>
          <p:cNvSpPr txBox="1"/>
          <p:nvPr/>
        </p:nvSpPr>
        <p:spPr>
          <a:xfrm>
            <a:off x="6749321" y="4455333"/>
            <a:ext cx="2377440" cy="123880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Resilient </a:t>
            </a:r>
          </a:p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IT Infrastructure</a:t>
            </a:r>
          </a:p>
          <a:p>
            <a:pPr defTabSz="914622" hangingPunct="0">
              <a:spcBef>
                <a:spcPts val="900"/>
              </a:spcBef>
              <a:defRPr/>
            </a:pPr>
            <a:r>
              <a:rPr lang="en-US" sz="1600" kern="0" dirty="0" err="1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Turbonomic</a:t>
            </a:r>
            <a:endParaRPr lang="en-US" sz="1600" kern="0" dirty="0">
              <a:solidFill>
                <a:srgbClr val="000000"/>
              </a:solidFill>
              <a:latin typeface="IBM Plex Sans Light" panose="020B0403050203000203" pitchFamily="34" charset="0"/>
              <a:cs typeface="Arial"/>
              <a:sym typeface="IBM Plex Sans Light"/>
            </a:endParaRPr>
          </a:p>
          <a:p>
            <a:pPr defTabSz="914622" hangingPunct="0"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z16</a:t>
            </a:r>
          </a:p>
          <a:p>
            <a:pPr defTabSz="914622" hangingPunct="0">
              <a:defRPr/>
            </a:pPr>
            <a:r>
              <a:rPr lang="en-US" sz="1600" kern="0" dirty="0" err="1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LinuxONE</a:t>
            </a:r>
            <a:endParaRPr lang="en-US" sz="1600" kern="0" dirty="0">
              <a:solidFill>
                <a:srgbClr val="000000"/>
              </a:solidFill>
              <a:latin typeface="IBM Plex Sans Light" panose="020B0403050203000203" pitchFamily="34" charset="0"/>
              <a:cs typeface="Arial"/>
              <a:sym typeface="IBM Plex Sans Light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41494B44-FA19-A44F-86F8-0150F76F80BA}"/>
              </a:ext>
            </a:extLst>
          </p:cNvPr>
          <p:cNvCxnSpPr>
            <a:cxnSpLocks/>
          </p:cNvCxnSpPr>
          <p:nvPr/>
        </p:nvCxnSpPr>
        <p:spPr bwMode="auto">
          <a:xfrm>
            <a:off x="6444584" y="3570673"/>
            <a:ext cx="0" cy="210312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20254B5A-9C0B-6DC7-9739-192004FD15F3}"/>
              </a:ext>
            </a:extLst>
          </p:cNvPr>
          <p:cNvGrpSpPr/>
          <p:nvPr/>
        </p:nvGrpSpPr>
        <p:grpSpPr>
          <a:xfrm>
            <a:off x="3608617" y="1102411"/>
            <a:ext cx="8177347" cy="5001376"/>
            <a:chOff x="7463246" y="2204822"/>
            <a:chExt cx="15727680" cy="10002752"/>
          </a:xfrm>
        </p:grpSpPr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140CCADA-FA7B-0F77-748C-77DEBA8C0F27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7463246" y="12207574"/>
              <a:ext cx="15727680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BC71924C-081F-B47A-B5EA-EB539DC6B4E4}"/>
                </a:ext>
              </a:extLst>
            </p:cNvPr>
            <p:cNvGrpSpPr/>
            <p:nvPr/>
          </p:nvGrpSpPr>
          <p:grpSpPr>
            <a:xfrm>
              <a:off x="7463246" y="2204822"/>
              <a:ext cx="15727680" cy="4516352"/>
              <a:chOff x="7463246" y="2204822"/>
              <a:chExt cx="15727680" cy="4516352"/>
            </a:xfrm>
          </p:grpSpPr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D9F57BCD-32D3-FA4C-AF06-CBFA2AD44D4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7463246" y="6721174"/>
                <a:ext cx="15727680" cy="0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1"/>
                </a:solidFill>
                <a:prstDash val="solid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F9E93FE-CE4A-F046-8CB1-00340856B2F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7463246" y="2204822"/>
                <a:ext cx="15727680" cy="0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1"/>
                </a:solidFill>
                <a:prstDash val="solid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1D126BED-CBCB-314B-B75C-3C34A85D03F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7463246" y="4461286"/>
                <a:ext cx="15727680" cy="0"/>
              </a:xfrm>
              <a:prstGeom prst="line">
                <a:avLst/>
              </a:prstGeom>
              <a:noFill/>
              <a:ln w="12700" cap="flat" cmpd="sng" algn="ctr">
                <a:solidFill>
                  <a:schemeClr val="tx1"/>
                </a:solidFill>
                <a:prstDash val="solid"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F477A04F-7F0F-EA47-94B8-1D7886F41539}"/>
              </a:ext>
            </a:extLst>
          </p:cNvPr>
          <p:cNvSpPr txBox="1"/>
          <p:nvPr/>
        </p:nvSpPr>
        <p:spPr>
          <a:xfrm>
            <a:off x="3771876" y="4455333"/>
            <a:ext cx="2651760" cy="938719"/>
          </a:xfrm>
          <a:prstGeom prst="rect">
            <a:avLst/>
          </a:prstGeom>
          <a:noFill/>
        </p:spPr>
        <p:txBody>
          <a:bodyPr wrap="square" lIns="121920" tIns="0" rIns="0" bIns="0">
            <a:spAutoFit/>
          </a:bodyPr>
          <a:lstStyle/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Intelligent </a:t>
            </a:r>
          </a:p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Facilities and Assets</a:t>
            </a:r>
          </a:p>
          <a:p>
            <a:pPr defTabSz="914622" hangingPunct="0">
              <a:lnSpc>
                <a:spcPts val="1500"/>
              </a:lnSpc>
              <a:spcBef>
                <a:spcPts val="900"/>
              </a:spcBef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Maximo</a:t>
            </a:r>
          </a:p>
          <a:p>
            <a:pPr defTabSz="914622" hangingPunct="0"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TRIRIGA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F1BD60F3-8A4B-0E4F-8C6C-6B00D396D7A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97569" y="3582948"/>
            <a:ext cx="675768" cy="674792"/>
          </a:xfrm>
          <a:prstGeom prst="rect">
            <a:avLst/>
          </a:prstGeom>
        </p:spPr>
      </p:pic>
      <p:sp>
        <p:nvSpPr>
          <p:cNvPr id="29" name="Title 1">
            <a:extLst>
              <a:ext uri="{FF2B5EF4-FFF2-40B4-BE49-F238E27FC236}">
                <a16:creationId xmlns:a16="http://schemas.microsoft.com/office/drawing/2014/main" id="{85BB4F3D-2322-FE5D-A214-8DBF3E8194EC}"/>
              </a:ext>
            </a:extLst>
          </p:cNvPr>
          <p:cNvSpPr txBox="1">
            <a:spLocks/>
          </p:cNvSpPr>
          <p:nvPr/>
        </p:nvSpPr>
        <p:spPr>
          <a:xfrm>
            <a:off x="280420" y="268227"/>
            <a:ext cx="2804160" cy="442976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5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2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68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4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defTabSz="914622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rgbClr val="000000"/>
                </a:solidFill>
                <a:latin typeface="IBM Plex Sans Light"/>
                <a:sym typeface="IBM Plex Sans Light"/>
              </a:rPr>
              <a:t>IBM Sustainability</a:t>
            </a:r>
          </a:p>
          <a:p>
            <a:pPr defTabSz="914622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667" kern="0" dirty="0">
              <a:solidFill>
                <a:srgbClr val="000000"/>
              </a:solidFill>
              <a:latin typeface="IBM Plex Sans Light"/>
              <a:sym typeface="IBM Plex Sans Light"/>
            </a:endParaRPr>
          </a:p>
          <a:p>
            <a:pPr defTabSz="914622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67" kern="0" dirty="0">
                <a:solidFill>
                  <a:srgbClr val="000000"/>
                </a:solidFill>
                <a:latin typeface="IBM Plex Sans Light"/>
                <a:sym typeface="IBM Plex Sans Light"/>
              </a:rPr>
              <a:t>Turn sustainability ambition into action </a:t>
            </a:r>
            <a:br>
              <a:rPr lang="en-US" sz="1867" kern="0" dirty="0">
                <a:solidFill>
                  <a:srgbClr val="000000"/>
                </a:solidFill>
                <a:latin typeface="IBM Plex Sans Light"/>
                <a:sym typeface="IBM Plex Sans Light"/>
              </a:rPr>
            </a:br>
            <a:r>
              <a:rPr lang="en-US" sz="1867" kern="0" dirty="0">
                <a:solidFill>
                  <a:srgbClr val="000000"/>
                </a:solidFill>
                <a:latin typeface="IBM Plex Sans Light"/>
                <a:sym typeface="IBM Plex Sans Light"/>
              </a:rPr>
              <a:t>with </a:t>
            </a:r>
            <a:r>
              <a:rPr lang="en-US" sz="1867" kern="0" dirty="0">
                <a:solidFill>
                  <a:srgbClr val="044BD9"/>
                </a:solidFill>
                <a:latin typeface="IBM Plex Sans Light"/>
                <a:sym typeface="IBM Plex Sans Light"/>
              </a:rPr>
              <a:t>IBM</a:t>
            </a:r>
            <a:r>
              <a:rPr lang="en-US" sz="1867" kern="0" dirty="0">
                <a:solidFill>
                  <a:srgbClr val="000000"/>
                </a:solidFill>
                <a:latin typeface="IBM Plex Sans Light"/>
                <a:sym typeface="IBM Plex Sans Light"/>
              </a:rPr>
              <a:t> and an ecosystem of partners:</a:t>
            </a:r>
          </a:p>
          <a:p>
            <a:pPr defTabSz="914622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867" kern="0" dirty="0">
              <a:solidFill>
                <a:srgbClr val="000000"/>
              </a:solidFill>
              <a:latin typeface="IBM Plex Sans Light"/>
              <a:sym typeface="IBM Plex Sans Light"/>
            </a:endParaRPr>
          </a:p>
          <a:p>
            <a:pPr defTabSz="914622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67" kern="0" dirty="0">
                <a:solidFill>
                  <a:srgbClr val="000000"/>
                </a:solidFill>
                <a:latin typeface="IBM Plex Sans Light"/>
                <a:sym typeface="IBM Plex Sans Light"/>
              </a:rPr>
              <a:t>EY, SAP, Salesforce, </a:t>
            </a:r>
          </a:p>
          <a:p>
            <a:pPr defTabSz="914622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67" kern="0" dirty="0">
                <a:solidFill>
                  <a:srgbClr val="000000"/>
                </a:solidFill>
                <a:latin typeface="IBM Plex Sans Light"/>
                <a:sym typeface="IBM Plex Sans Light"/>
              </a:rPr>
              <a:t>AWS, Microsoft, and many more</a:t>
            </a:r>
          </a:p>
          <a:p>
            <a:pPr defTabSz="914622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867" kern="0" dirty="0">
              <a:solidFill>
                <a:srgbClr val="000000"/>
              </a:solidFill>
              <a:latin typeface="IBM Plex Sans Light"/>
              <a:sym typeface="IBM Plex Sans Light"/>
            </a:endParaRPr>
          </a:p>
          <a:p>
            <a:pPr defTabSz="914622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133" kern="0" dirty="0">
              <a:solidFill>
                <a:srgbClr val="000000"/>
              </a:solidFill>
              <a:latin typeface="IBM Plex Sans Light"/>
              <a:sym typeface="IBM Plex Sans Light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FE59AD17-7D88-5EDC-9378-BCFA28CFCA73}"/>
              </a:ext>
            </a:extLst>
          </p:cNvPr>
          <p:cNvCxnSpPr>
            <a:cxnSpLocks/>
          </p:cNvCxnSpPr>
          <p:nvPr/>
        </p:nvCxnSpPr>
        <p:spPr bwMode="auto">
          <a:xfrm>
            <a:off x="3490951" y="1102411"/>
            <a:ext cx="0" cy="5001376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8F5B7EE5-104A-CFED-4F6A-77BE0E9846C9}"/>
              </a:ext>
            </a:extLst>
          </p:cNvPr>
          <p:cNvSpPr txBox="1"/>
          <p:nvPr/>
        </p:nvSpPr>
        <p:spPr>
          <a:xfrm rot="16200000">
            <a:off x="2163883" y="3481273"/>
            <a:ext cx="2332370" cy="2436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25400" tIns="25400" rIns="25400" bIns="25400" numCol="1" spcCol="38100" rtlCol="0" anchor="ctr">
            <a:spAutoFit/>
          </a:bodyPr>
          <a:lstStyle/>
          <a:p>
            <a:pPr defTabSz="1219139" hangingPunct="0">
              <a:lnSpc>
                <a:spcPts val="1500"/>
              </a:lnSpc>
            </a:pPr>
            <a:r>
              <a:rPr lang="en-US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Sustainability Service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F7BC4D5-88C2-A432-8D52-C9F151E6F1A8}"/>
              </a:ext>
            </a:extLst>
          </p:cNvPr>
          <p:cNvSpPr txBox="1"/>
          <p:nvPr/>
        </p:nvSpPr>
        <p:spPr>
          <a:xfrm>
            <a:off x="3854429" y="1284235"/>
            <a:ext cx="2590155" cy="584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defTabSz="914622" hangingPunct="0"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Aligned Business </a:t>
            </a:r>
          </a:p>
          <a:p>
            <a:pPr defTabSz="914622" hangingPunct="0"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Strategy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B18CF1B-A1A1-C1E1-11A1-9E7FDFACE17E}"/>
              </a:ext>
            </a:extLst>
          </p:cNvPr>
          <p:cNvSpPr txBox="1"/>
          <p:nvPr/>
        </p:nvSpPr>
        <p:spPr>
          <a:xfrm>
            <a:off x="3854427" y="2433767"/>
            <a:ext cx="2327586" cy="830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defTabSz="914622" hangingPunct="0"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ESG Data, Reporting, and Climate Risk Management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2384EAF-FD75-7A91-33DC-6F5433841353}"/>
              </a:ext>
            </a:extLst>
          </p:cNvPr>
          <p:cNvSpPr/>
          <p:nvPr/>
        </p:nvSpPr>
        <p:spPr bwMode="auto">
          <a:xfrm>
            <a:off x="6535237" y="1325450"/>
            <a:ext cx="5085264" cy="434863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Garage for Sustainability</a:t>
            </a:r>
          </a:p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Materiality, Data and Technology  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8721244-7C56-0C81-8D8C-5CF24785FCC6}"/>
              </a:ext>
            </a:extLst>
          </p:cNvPr>
          <p:cNvSpPr/>
          <p:nvPr/>
        </p:nvSpPr>
        <p:spPr bwMode="auto">
          <a:xfrm>
            <a:off x="6535237" y="2474982"/>
            <a:ext cx="4892040" cy="434863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 err="1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Envizi</a:t>
            </a:r>
            <a:endParaRPr lang="en-US" sz="1600" kern="0" dirty="0">
              <a:solidFill>
                <a:srgbClr val="000000"/>
              </a:solidFill>
              <a:latin typeface="IBM Plex Sans Light" panose="020B0403050203000203" pitchFamily="34" charset="0"/>
              <a:cs typeface="Arial"/>
              <a:sym typeface="IBM Plex Sans Light"/>
            </a:endParaRPr>
          </a:p>
          <a:p>
            <a:pPr defTabSz="914622" hangingPunct="0">
              <a:lnSpc>
                <a:spcPts val="1500"/>
              </a:lnSpc>
              <a:defRPr/>
            </a:pPr>
            <a:r>
              <a:rPr lang="en-US" sz="1600" kern="0" dirty="0">
                <a:solidFill>
                  <a:srgbClr val="000000"/>
                </a:solidFill>
                <a:latin typeface="IBM Plex Sans Light" panose="020B0403050203000203" pitchFamily="34" charset="0"/>
                <a:cs typeface="Arial"/>
                <a:sym typeface="IBM Plex Sans Light"/>
              </a:rPr>
              <a:t>Environmental Intelligence Suite</a:t>
            </a:r>
          </a:p>
        </p:txBody>
      </p:sp>
    </p:spTree>
    <p:extLst>
      <p:ext uri="{BB962C8B-B14F-4D97-AF65-F5344CB8AC3E}">
        <p14:creationId xmlns:p14="http://schemas.microsoft.com/office/powerpoint/2010/main" val="2645681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85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3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marL="173736" indent="-173736" algn="l">
          <a:spcBef>
            <a:spcPts val="1100"/>
          </a:spcBef>
          <a:buFont typeface="System Font Regular"/>
          <a:buChar char="–"/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" id="{4C35AED2-0956-0D40-B36D-C06D62725AA8}" vid="{C4BA05BF-74B1-4B4C-B175-992815DE89C6}"/>
    </a:ext>
  </a:extLst>
</a:theme>
</file>

<file path=ppt/theme/theme2.xml><?xml version="1.0" encoding="utf-8"?>
<a:theme xmlns:a="http://schemas.openxmlformats.org/drawingml/2006/main" name="2_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marL="173736" indent="-173736" algn="l">
          <a:spcBef>
            <a:spcPts val="1100"/>
          </a:spcBef>
          <a:buFont typeface="System Font Regular"/>
          <a:buChar char="–"/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 Data and AI_Presentation_3-31-2022_Final" id="{584E9945-03F3-8E45-92A2-9A3E19329C3B}" vid="{103172EA-6592-2C41-A478-77627A4AAB2B}"/>
    </a:ext>
  </a:extLst>
</a:theme>
</file>

<file path=ppt/theme/theme3.xml><?xml version="1.0" encoding="utf-8"?>
<a:theme xmlns:a="http://schemas.openxmlformats.org/drawingml/2006/main" name="3_IBM 2020 Master template (black background)">
  <a:themeElements>
    <a:clrScheme name="Custom 3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408BFC"/>
      </a:hlink>
      <a:folHlink>
        <a:srgbClr val="6EA6FF"/>
      </a:folHlink>
    </a:clrScheme>
    <a:fontScheme name="IBM Plex">
      <a:majorFont>
        <a:latin typeface="IBM Plex Sans Bold"/>
        <a:ea typeface=""/>
        <a:cs typeface=""/>
      </a:majorFont>
      <a:minorFont>
        <a:latin typeface="IBM Plex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685983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IBM Plex Sans" charset="0"/>
            <a:ea typeface="IBM Plex Sans" charset="0"/>
            <a:cs typeface="IBM Plex Sans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Presentation28" id="{E7F5186F-CD1A-5646-8F0C-29D90816D0A5}" vid="{9B2BF0E4-283B-E842-AD30-5DBC00D10FD0}"/>
    </a:ext>
  </a:extLst>
</a:theme>
</file>

<file path=ppt/theme/theme4.xml><?xml version="1.0" encoding="utf-8"?>
<a:theme xmlns:a="http://schemas.openxmlformats.org/drawingml/2006/main" name="2_IBM 2020 Master template (white background)">
  <a:themeElements>
    <a:clrScheme name="Custom 1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0062FF"/>
      </a:hlink>
      <a:folHlink>
        <a:srgbClr val="6EA6FF"/>
      </a:folHlink>
    </a:clrScheme>
    <a:fontScheme name="IBM Plex">
      <a:majorFont>
        <a:latin typeface="IBM Plex Sans Bold"/>
        <a:ea typeface=""/>
        <a:cs typeface=""/>
      </a:majorFont>
      <a:minorFont>
        <a:latin typeface="IBM Plex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9050">
          <a:solidFill>
            <a:schemeClr val="accent2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IBM Plex Sans" panose="020B0503050203000203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Presentation28" id="{E7F5186F-CD1A-5646-8F0C-29D90816D0A5}" vid="{11907201-AAF9-B143-AA3F-36E7F992C314}"/>
    </a:ext>
  </a:extLst>
</a:theme>
</file>

<file path=ppt/theme/theme5.xml><?xml version="1.0" encoding="utf-8"?>
<a:theme xmlns:a="http://schemas.openxmlformats.org/drawingml/2006/main" name="21_BasicWhite">
  <a:themeElements>
    <a:clrScheme name="21_Basic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IBM Plex Sans Light"/>
        <a:ea typeface="IBM Plex Sans Light"/>
        <a:cs typeface="IBM Plex Sans Light"/>
      </a:majorFont>
      <a:minorFont>
        <a:latin typeface="IBM Plex Sans Light"/>
        <a:ea typeface="IBM Plex Sans Light"/>
        <a:cs typeface="IBM Plex Sans Light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2438338" rtl="0" fontAlgn="auto" latinLnBrk="0" hangingPunct="0">
          <a:lnSpc>
            <a:spcPts val="3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IBM Plex Sans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6.xml><?xml version="1.0" encoding="utf-8"?>
<a:theme xmlns:a="http://schemas.openxmlformats.org/drawingml/2006/main" name="1_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1192E8"/>
        </a:solidFill>
        <a:ln w="19050">
          <a:noFill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10000"/>
          </a:lnSpc>
          <a:spcBef>
            <a:spcPts val="1800"/>
          </a:spcBef>
          <a:defRPr sz="18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" id="{4C35AED2-0956-0D40-B36D-C06D62725AA8}" vid="{C4BA05BF-74B1-4B4C-B175-992815DE89C6}"/>
    </a:ext>
  </a:extLst>
</a:theme>
</file>

<file path=ppt/theme/theme7.xml><?xml version="1.0" encoding="utf-8"?>
<a:theme xmlns:a="http://schemas.openxmlformats.org/drawingml/2006/main" name="IBM 2020 Master template (light gray background)">
  <a:themeElements>
    <a:clrScheme name="Custom 5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0062FF"/>
      </a:hlink>
      <a:folHlink>
        <a:srgbClr val="6EA6FF"/>
      </a:folHlink>
    </a:clrScheme>
    <a:fontScheme name="IBM Plex">
      <a:majorFont>
        <a:latin typeface="IBM Plex Sans Bold"/>
        <a:ea typeface=""/>
        <a:cs typeface=""/>
      </a:majorFont>
      <a:minorFont>
        <a:latin typeface="IBM Plex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9050">
          <a:solidFill>
            <a:schemeClr val="accent2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IBM Plex Sans" panose="020B0503050203000203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Presentation28" id="{E7F5186F-CD1A-5646-8F0C-29D90816D0A5}" vid="{57021E71-15AB-3A48-9890-7A8DDE815D7C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4928</TotalTime>
  <Words>892</Words>
  <Application>Microsoft Office PowerPoint</Application>
  <PresentationFormat>Widescreen</PresentationFormat>
  <Paragraphs>143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9" baseType="lpstr">
      <vt:lpstr>.AppleSystemUIFont</vt:lpstr>
      <vt:lpstr>Arial</vt:lpstr>
      <vt:lpstr>Arial Regular</vt:lpstr>
      <vt:lpstr>Calibri</vt:lpstr>
      <vt:lpstr>Helvetica Neue</vt:lpstr>
      <vt:lpstr>Helvetica Neue Medium</vt:lpstr>
      <vt:lpstr>HelvNeue Light for IBM</vt:lpstr>
      <vt:lpstr>IBM Plex Sans</vt:lpstr>
      <vt:lpstr>IBM Plex Sans ExtraLight</vt:lpstr>
      <vt:lpstr>IBM Plex Sans Light</vt:lpstr>
      <vt:lpstr>IBM Plex Sans Medium</vt:lpstr>
      <vt:lpstr>IBM Plex Sans Regular</vt:lpstr>
      <vt:lpstr>Segoe UI</vt:lpstr>
      <vt:lpstr>System Font Regular</vt:lpstr>
      <vt:lpstr>Wingdings</vt:lpstr>
      <vt:lpstr>IBM Brand Template 2022</vt:lpstr>
      <vt:lpstr>2_IBM Brand Template 2022</vt:lpstr>
      <vt:lpstr>3_IBM 2020 Master template (black background)</vt:lpstr>
      <vt:lpstr>2_IBM 2020 Master template (white background)</vt:lpstr>
      <vt:lpstr>21_BasicWhite</vt:lpstr>
      <vt:lpstr>1_IBM Brand Template 2022</vt:lpstr>
      <vt:lpstr>IBM 2020 Master template (light gray background)</vt:lpstr>
      <vt:lpstr>think-cell Slide</vt:lpstr>
      <vt:lpstr>Turn sustainability ambition into ac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yme Tamaru</dc:creator>
  <cp:lastModifiedBy>Virginia V Pluim</cp:lastModifiedBy>
  <cp:revision>1568</cp:revision>
  <dcterms:created xsi:type="dcterms:W3CDTF">2021-01-07T16:23:00Z</dcterms:created>
  <dcterms:modified xsi:type="dcterms:W3CDTF">2022-11-07T10:44:32Z</dcterms:modified>
</cp:coreProperties>
</file>